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57" r:id="rId2"/>
    <p:sldId id="1254" r:id="rId3"/>
    <p:sldId id="1255" r:id="rId4"/>
    <p:sldId id="1256" r:id="rId5"/>
    <p:sldId id="1257" r:id="rId6"/>
    <p:sldId id="1258" r:id="rId7"/>
    <p:sldId id="1259" r:id="rId8"/>
    <p:sldId id="1260" r:id="rId9"/>
    <p:sldId id="1261" r:id="rId10"/>
    <p:sldId id="1262" r:id="rId11"/>
    <p:sldId id="1263" r:id="rId12"/>
    <p:sldId id="1264" r:id="rId13"/>
    <p:sldId id="126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554" autoAdjust="0"/>
    <p:restoredTop sz="89117"/>
  </p:normalViewPr>
  <p:slideViewPr>
    <p:cSldViewPr snapToGrid="0">
      <p:cViewPr varScale="1">
        <p:scale>
          <a:sx n="97" d="100"/>
          <a:sy n="97" d="100"/>
        </p:scale>
        <p:origin x="1512"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45DF23-771F-44E5-8D5E-FC0ECD506285}" type="datetimeFigureOut">
              <a:t>9/18/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9EC966-0294-4CCB-83EC-7749E6062784}" type="slidenum">
              <a:t>‹#›</a:t>
            </a:fld>
            <a:endParaRPr lang="en-US"/>
          </a:p>
        </p:txBody>
      </p:sp>
    </p:spTree>
    <p:extLst>
      <p:ext uri="{BB962C8B-B14F-4D97-AF65-F5344CB8AC3E}">
        <p14:creationId xmlns:p14="http://schemas.microsoft.com/office/powerpoint/2010/main" val="369070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BE41260-D37D-4FFB-81B1-2B83A610A317}"/>
              </a:ext>
            </a:extLst>
          </p:cNvPr>
          <p:cNvGrpSpPr/>
          <p:nvPr userDrawn="1"/>
        </p:nvGrpSpPr>
        <p:grpSpPr>
          <a:xfrm>
            <a:off x="0" y="0"/>
            <a:ext cx="12192000" cy="6858000"/>
            <a:chOff x="0" y="0"/>
            <a:chExt cx="12192000" cy="6858000"/>
          </a:xfrm>
        </p:grpSpPr>
        <p:pic>
          <p:nvPicPr>
            <p:cNvPr id="8" name="Picture 7">
              <a:extLst>
                <a:ext uri="{FF2B5EF4-FFF2-40B4-BE49-F238E27FC236}">
                  <a16:creationId xmlns:a16="http://schemas.microsoft.com/office/drawing/2014/main" id="{F20D7E07-F897-3A4B-9059-8149509E3368}"/>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95BB0A4D-A6B7-084D-B44B-FD257FB003AA}"/>
                </a:ext>
                <a:ext uri="{C183D7F6-B498-43B3-948B-1728B52AA6E4}">
                  <adec:decorative xmlns:adec="http://schemas.microsoft.com/office/drawing/2017/decorative" val="1"/>
                </a:ext>
              </a:extLst>
            </p:cNvPr>
            <p:cNvSpPr/>
            <p:nvPr userDrawn="1"/>
          </p:nvSpPr>
          <p:spPr>
            <a:xfrm rot="5400000">
              <a:off x="8738576" y="-516595"/>
              <a:ext cx="124244" cy="5864993"/>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 name="Picture 8" descr="Logo Johns Hopkins&#10;Carey Business School">
            <a:extLst>
              <a:ext uri="{FF2B5EF4-FFF2-40B4-BE49-F238E27FC236}">
                <a16:creationId xmlns:a16="http://schemas.microsoft.com/office/drawing/2014/main" id="{9EF1B78E-2C14-0643-8377-85A3FFE890A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1682" y="5586646"/>
            <a:ext cx="3890031" cy="984818"/>
          </a:xfrm>
          <a:prstGeom prst="rect">
            <a:avLst/>
          </a:prstGeom>
        </p:spPr>
      </p:pic>
      <p:sp>
        <p:nvSpPr>
          <p:cNvPr id="12" name="Title 4">
            <a:extLst>
              <a:ext uri="{FF2B5EF4-FFF2-40B4-BE49-F238E27FC236}">
                <a16:creationId xmlns:a16="http://schemas.microsoft.com/office/drawing/2014/main" id="{BE5927E4-3324-6048-88B6-62B4BCEDE7FE}"/>
              </a:ext>
            </a:extLst>
          </p:cNvPr>
          <p:cNvSpPr>
            <a:spLocks noGrp="1"/>
          </p:cNvSpPr>
          <p:nvPr>
            <p:ph type="title"/>
          </p:nvPr>
        </p:nvSpPr>
        <p:spPr>
          <a:xfrm>
            <a:off x="5868202" y="2637492"/>
            <a:ext cx="5864994" cy="791508"/>
          </a:xfrm>
          <a:prstGeom prst="rect">
            <a:avLst/>
          </a:prstGeom>
        </p:spPr>
        <p:txBody>
          <a:bodyPr/>
          <a:lstStyle>
            <a:lvl1pPr algn="r">
              <a:defRPr sz="6000">
                <a:solidFill>
                  <a:schemeClr val="bg1"/>
                </a:solidFill>
              </a:defRPr>
            </a:lvl1pPr>
          </a:lstStyle>
          <a:p>
            <a:endParaRPr lang="en-US"/>
          </a:p>
        </p:txBody>
      </p:sp>
    </p:spTree>
    <p:extLst>
      <p:ext uri="{BB962C8B-B14F-4D97-AF65-F5344CB8AC3E}">
        <p14:creationId xmlns:p14="http://schemas.microsoft.com/office/powerpoint/2010/main" val="3687540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9">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E85E5C3-8FCC-40DF-BEFD-77AFB60D83C1}"/>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83AC2EA1-820B-F844-A1AC-162DE6DA4EEB}"/>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3B9B22B9-AA09-764E-9921-AA7444FC42A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34B7CFCF-BED2-D440-9665-BCF5E5C743B4}"/>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5C1258AF-86B6-824E-8979-814EE136BE40}"/>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sp>
        <p:nvSpPr>
          <p:cNvPr id="10" name="Title 1">
            <a:extLst>
              <a:ext uri="{FF2B5EF4-FFF2-40B4-BE49-F238E27FC236}">
                <a16:creationId xmlns:a16="http://schemas.microsoft.com/office/drawing/2014/main" id="{78093BB3-EEE2-C849-94DD-7ACA373F767B}"/>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5" name="Picture 14" descr="happy male and female student sharing a labtop and making notes in a study area with another couple in the background">
            <a:extLst>
              <a:ext uri="{FF2B5EF4-FFF2-40B4-BE49-F238E27FC236}">
                <a16:creationId xmlns:a16="http://schemas.microsoft.com/office/drawing/2014/main" id="{D1F277C5-05EF-044D-9C1A-857A592B70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4279" y="685800"/>
            <a:ext cx="5943600" cy="5486400"/>
          </a:xfrm>
          <a:prstGeom prst="rect">
            <a:avLst/>
          </a:prstGeom>
        </p:spPr>
      </p:pic>
    </p:spTree>
    <p:extLst>
      <p:ext uri="{BB962C8B-B14F-4D97-AF65-F5344CB8AC3E}">
        <p14:creationId xmlns:p14="http://schemas.microsoft.com/office/powerpoint/2010/main" val="26381135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10">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EFCACF3-16ED-4F7B-83E8-660574FA8232}"/>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83AC2EA1-820B-F844-A1AC-162DE6DA4EEB}"/>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3B9B22B9-AA09-764E-9921-AA7444FC42A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34B7CFCF-BED2-D440-9665-BCF5E5C743B4}"/>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5C1258AF-86B6-824E-8979-814EE136BE40}"/>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sp>
        <p:nvSpPr>
          <p:cNvPr id="10" name="Title 1">
            <a:extLst>
              <a:ext uri="{FF2B5EF4-FFF2-40B4-BE49-F238E27FC236}">
                <a16:creationId xmlns:a16="http://schemas.microsoft.com/office/drawing/2014/main" id="{78093BB3-EEE2-C849-94DD-7ACA373F767B}"/>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4" name="Picture 13" descr="2 male students discussing a business average total cost graph on a white board">
            <a:extLst>
              <a:ext uri="{FF2B5EF4-FFF2-40B4-BE49-F238E27FC236}">
                <a16:creationId xmlns:a16="http://schemas.microsoft.com/office/drawing/2014/main" id="{E0E625CF-D342-DF4B-BEF8-72EDCB73708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4279" y="685799"/>
            <a:ext cx="5943600" cy="5486400"/>
          </a:xfrm>
          <a:prstGeom prst="rect">
            <a:avLst/>
          </a:prstGeom>
        </p:spPr>
      </p:pic>
    </p:spTree>
    <p:extLst>
      <p:ext uri="{BB962C8B-B14F-4D97-AF65-F5344CB8AC3E}">
        <p14:creationId xmlns:p14="http://schemas.microsoft.com/office/powerpoint/2010/main" val="21484454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11">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C67869-C689-418A-9C6D-ADDE4DA7139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6A3604E5-F3AE-584F-B596-17F1F22D3010}"/>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C2E5479E-AD1A-CD4B-835A-984766835D2E}"/>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6A988C1B-22C8-0E4B-BC34-6175530A557B}"/>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CCB50484-C0B9-6545-A4A0-B1B19DD9ED94}"/>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pic>
        <p:nvPicPr>
          <p:cNvPr id="13" name="Picture 12" descr="happy Johns Hopkins students male and female looking at a laptop with female student grasping a Johns Hopkins Carey Business school coffee mug">
            <a:extLst>
              <a:ext uri="{FF2B5EF4-FFF2-40B4-BE49-F238E27FC236}">
                <a16:creationId xmlns:a16="http://schemas.microsoft.com/office/drawing/2014/main" id="{D63457D0-C0C6-4C4C-9049-E8DD1717C53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
        <p:nvSpPr>
          <p:cNvPr id="10" name="Title 1">
            <a:extLst>
              <a:ext uri="{FF2B5EF4-FFF2-40B4-BE49-F238E27FC236}">
                <a16:creationId xmlns:a16="http://schemas.microsoft.com/office/drawing/2014/main" id="{D1367F1D-109D-324A-B293-3CB81BD898E9}"/>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spTree>
    <p:extLst>
      <p:ext uri="{BB962C8B-B14F-4D97-AF65-F5344CB8AC3E}">
        <p14:creationId xmlns:p14="http://schemas.microsoft.com/office/powerpoint/2010/main" val="7584407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2">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1A1F2C3-76A6-47D9-B415-C4799DAC6201}"/>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E57EAA4D-1E42-8147-95DB-7E17BC2F7CD8}"/>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14C89A80-9075-CC48-A7EE-BBF9B7B0106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8A49F92F-5EEB-A243-A6C3-1C090D0ABD32}"/>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02AD7C49-1A83-D845-B8AE-EC1484E5F3C8}"/>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pic>
        <p:nvPicPr>
          <p:cNvPr id="13" name="Picture 12" descr="2 happy male students sitting in a study area discussing homework projects using paper and pen">
            <a:extLst>
              <a:ext uri="{FF2B5EF4-FFF2-40B4-BE49-F238E27FC236}">
                <a16:creationId xmlns:a16="http://schemas.microsoft.com/office/drawing/2014/main" id="{4D8955B8-C5FF-2548-9179-4096FEBB2AB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
        <p:nvSpPr>
          <p:cNvPr id="10" name="Title 1">
            <a:extLst>
              <a:ext uri="{FF2B5EF4-FFF2-40B4-BE49-F238E27FC236}">
                <a16:creationId xmlns:a16="http://schemas.microsoft.com/office/drawing/2014/main" id="{BAA8F8B6-CF57-C047-A2B0-E535701545DB}"/>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spTree>
    <p:extLst>
      <p:ext uri="{BB962C8B-B14F-4D97-AF65-F5344CB8AC3E}">
        <p14:creationId xmlns:p14="http://schemas.microsoft.com/office/powerpoint/2010/main" val="36827943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ed Text Option 1">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3BFDE49D-A7FB-0B46-9B41-29A5F7C9A08D}"/>
              </a:ext>
            </a:extLst>
          </p:cNvPr>
          <p:cNvSpPr>
            <a:spLocks noGrp="1"/>
          </p:cNvSpPr>
          <p:nvPr>
            <p:ph type="title"/>
          </p:nvPr>
        </p:nvSpPr>
        <p:spPr>
          <a:xfrm>
            <a:off x="609600" y="398963"/>
            <a:ext cx="8229600" cy="563562"/>
          </a:xfrm>
          <a:prstGeom prst="rect">
            <a:avLst/>
          </a:prstGeom>
        </p:spPr>
        <p:txBody>
          <a:bodyPr/>
          <a:lstStyle>
            <a:lvl1pPr>
              <a:defRPr>
                <a:solidFill>
                  <a:schemeClr val="bg1"/>
                </a:solidFill>
              </a:defRPr>
            </a:lvl1pPr>
          </a:lstStyle>
          <a:p>
            <a:endParaRPr lang="en-US"/>
          </a:p>
        </p:txBody>
      </p:sp>
      <p:sp>
        <p:nvSpPr>
          <p:cNvPr id="8" name="Content Placeholder 4">
            <a:extLst>
              <a:ext uri="{FF2B5EF4-FFF2-40B4-BE49-F238E27FC236}">
                <a16:creationId xmlns:a16="http://schemas.microsoft.com/office/drawing/2014/main" id="{8DE310D5-1ACE-F144-A0F4-41871248ACB4}"/>
              </a:ext>
            </a:extLst>
          </p:cNvPr>
          <p:cNvSpPr>
            <a:spLocks noGrp="1"/>
          </p:cNvSpPr>
          <p:nvPr>
            <p:ph idx="1"/>
          </p:nvPr>
        </p:nvSpPr>
        <p:spPr>
          <a:xfrm>
            <a:off x="838200" y="1825625"/>
            <a:ext cx="10515600" cy="4351338"/>
          </a:xfrm>
          <a:prstGeom prst="rect">
            <a:avLst/>
          </a:prstGeom>
        </p:spPr>
        <p:txBody>
          <a:bodyPr/>
          <a:lstStyle>
            <a:lvl1pPr marL="228600" indent="-228600">
              <a:buClr>
                <a:srgbClr val="6DADE4"/>
              </a:buClr>
              <a:buFont typeface="Wingdings" pitchFamily="2" charset="2"/>
              <a:buChar char="§"/>
              <a:defRPr/>
            </a:lvl1pPr>
          </a:lstStyle>
          <a:p>
            <a:endParaRPr lang="en-US"/>
          </a:p>
        </p:txBody>
      </p:sp>
      <p:sp>
        <p:nvSpPr>
          <p:cNvPr id="9" name="Date Placeholder 1">
            <a:extLst>
              <a:ext uri="{FF2B5EF4-FFF2-40B4-BE49-F238E27FC236}">
                <a16:creationId xmlns:a16="http://schemas.microsoft.com/office/drawing/2014/main" id="{76CABD29-091A-3841-BE41-A21E7996BC04}"/>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0" name="Footer Placeholder 2">
            <a:extLst>
              <a:ext uri="{FF2B5EF4-FFF2-40B4-BE49-F238E27FC236}">
                <a16:creationId xmlns:a16="http://schemas.microsoft.com/office/drawing/2014/main" id="{F3AB6005-8FDD-BA49-BCAB-7957EEE318C7}"/>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1" name="Slide Number Placeholder 3">
            <a:extLst>
              <a:ext uri="{FF2B5EF4-FFF2-40B4-BE49-F238E27FC236}">
                <a16:creationId xmlns:a16="http://schemas.microsoft.com/office/drawing/2014/main" id="{E09952BB-C30E-1D45-8334-594D82CC67C1}"/>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14153708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ed Text Option 2">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3BFDE49D-A7FB-0B46-9B41-29A5F7C9A08D}"/>
              </a:ext>
            </a:extLst>
          </p:cNvPr>
          <p:cNvSpPr>
            <a:spLocks noGrp="1"/>
          </p:cNvSpPr>
          <p:nvPr>
            <p:ph type="title"/>
          </p:nvPr>
        </p:nvSpPr>
        <p:spPr>
          <a:xfrm>
            <a:off x="609600" y="350838"/>
            <a:ext cx="8229600" cy="563562"/>
          </a:xfrm>
          <a:prstGeom prst="rect">
            <a:avLst/>
          </a:prstGeom>
        </p:spPr>
        <p:txBody>
          <a:bodyPr/>
          <a:lstStyle>
            <a:lvl1pPr>
              <a:defRPr>
                <a:solidFill>
                  <a:schemeClr val="bg1"/>
                </a:solidFill>
              </a:defRPr>
            </a:lvl1pPr>
          </a:lstStyle>
          <a:p>
            <a:endParaRPr lang="en-US"/>
          </a:p>
        </p:txBody>
      </p:sp>
      <p:sp>
        <p:nvSpPr>
          <p:cNvPr id="4" name="Text Placeholder 5">
            <a:extLst>
              <a:ext uri="{FF2B5EF4-FFF2-40B4-BE49-F238E27FC236}">
                <a16:creationId xmlns:a16="http://schemas.microsoft.com/office/drawing/2014/main" id="{004DA1CD-FD3B-874C-8785-2581B739616B}"/>
              </a:ext>
            </a:extLst>
          </p:cNvPr>
          <p:cNvSpPr>
            <a:spLocks noGrp="1"/>
          </p:cNvSpPr>
          <p:nvPr>
            <p:ph type="body" sz="quarter" idx="10"/>
          </p:nvPr>
        </p:nvSpPr>
        <p:spPr>
          <a:xfrm>
            <a:off x="609600" y="838200"/>
            <a:ext cx="3657600" cy="381000"/>
          </a:xfrm>
          <a:prstGeom prst="rect">
            <a:avLst/>
          </a:prstGeom>
        </p:spPr>
        <p:txBody>
          <a:bodyPr/>
          <a:lstStyle>
            <a:lvl1pPr marL="0" indent="0">
              <a:buNone/>
              <a:defRPr>
                <a:solidFill>
                  <a:schemeClr val="bg1"/>
                </a:solidFill>
              </a:defRPr>
            </a:lvl1pPr>
          </a:lstStyle>
          <a:p>
            <a:endParaRPr lang="en-US"/>
          </a:p>
        </p:txBody>
      </p:sp>
      <p:sp>
        <p:nvSpPr>
          <p:cNvPr id="8" name="Content Placeholder 4">
            <a:extLst>
              <a:ext uri="{FF2B5EF4-FFF2-40B4-BE49-F238E27FC236}">
                <a16:creationId xmlns:a16="http://schemas.microsoft.com/office/drawing/2014/main" id="{8DE310D5-1ACE-F144-A0F4-41871248ACB4}"/>
              </a:ext>
            </a:extLst>
          </p:cNvPr>
          <p:cNvSpPr>
            <a:spLocks noGrp="1"/>
          </p:cNvSpPr>
          <p:nvPr>
            <p:ph idx="1"/>
          </p:nvPr>
        </p:nvSpPr>
        <p:spPr>
          <a:xfrm>
            <a:off x="838200" y="1825625"/>
            <a:ext cx="10515600" cy="4351338"/>
          </a:xfrm>
          <a:prstGeom prst="rect">
            <a:avLst/>
          </a:prstGeom>
        </p:spPr>
        <p:txBody>
          <a:bodyPr/>
          <a:lstStyle>
            <a:lvl1pPr marL="228600" indent="-228600">
              <a:buClr>
                <a:srgbClr val="6DADE4"/>
              </a:buClr>
              <a:buFont typeface="Wingdings" pitchFamily="2" charset="2"/>
              <a:buChar char="§"/>
              <a:defRPr/>
            </a:lvl1pPr>
          </a:lstStyle>
          <a:p>
            <a:endParaRPr lang="en-US"/>
          </a:p>
        </p:txBody>
      </p:sp>
      <p:sp>
        <p:nvSpPr>
          <p:cNvPr id="9" name="Date Placeholder 1">
            <a:extLst>
              <a:ext uri="{FF2B5EF4-FFF2-40B4-BE49-F238E27FC236}">
                <a16:creationId xmlns:a16="http://schemas.microsoft.com/office/drawing/2014/main" id="{76CABD29-091A-3841-BE41-A21E7996BC04}"/>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0" name="Footer Placeholder 2">
            <a:extLst>
              <a:ext uri="{FF2B5EF4-FFF2-40B4-BE49-F238E27FC236}">
                <a16:creationId xmlns:a16="http://schemas.microsoft.com/office/drawing/2014/main" id="{F3AB6005-8FDD-BA49-BCAB-7957EEE318C7}"/>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1" name="Slide Number Placeholder 3">
            <a:extLst>
              <a:ext uri="{FF2B5EF4-FFF2-40B4-BE49-F238E27FC236}">
                <a16:creationId xmlns:a16="http://schemas.microsoft.com/office/drawing/2014/main" id="{E09952BB-C30E-1D45-8334-594D82CC67C1}"/>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1302456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838200" y="1825625"/>
            <a:ext cx="5181600" cy="4351338"/>
          </a:xfrm>
          <a:prstGeom prst="rect">
            <a:avLst/>
          </a:prstGeom>
        </p:spPr>
        <p:txBody>
          <a:bodyPr/>
          <a:lstStyle>
            <a:lvl1pPr marL="228600" indent="-228600">
              <a:buClr>
                <a:srgbClr val="6DADE4"/>
              </a:buClr>
              <a:buFont typeface="Wingdings" pitchFamily="2" charset="2"/>
              <a:buChar char="§"/>
              <a:defRPr/>
            </a:lvl1pPr>
            <a:lvl3pPr marL="1143000" indent="-228600">
              <a:buFont typeface="Courier New" panose="02070309020205020404" pitchFamily="49" charset="0"/>
              <a:buChar char="o"/>
              <a:defRPr/>
            </a:lvl3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72200" y="1825625"/>
            <a:ext cx="5181600" cy="4351338"/>
          </a:xfrm>
          <a:prstGeom prst="rect">
            <a:avLst/>
          </a:prstGeom>
        </p:spPr>
        <p:txBody>
          <a:bodyPr/>
          <a:lstStyle>
            <a:lvl1pPr marL="228600" indent="-228600">
              <a:buClr>
                <a:srgbClr val="6DADE4"/>
              </a:buClr>
              <a:buFont typeface="Wingdings" pitchFamily="2" charset="2"/>
              <a:buChar char="§"/>
              <a:defRPr/>
            </a:lvl1pPr>
            <a:lvl3pPr marL="1143000" indent="-228600">
              <a:buFont typeface="Courier New" panose="02070309020205020404" pitchFamily="49" charset="0"/>
              <a:buChar char="o"/>
              <a:defRPr/>
            </a:lvl3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6" name="Title 4">
            <a:extLst>
              <a:ext uri="{FF2B5EF4-FFF2-40B4-BE49-F238E27FC236}">
                <a16:creationId xmlns:a16="http://schemas.microsoft.com/office/drawing/2014/main" id="{4A203231-76EC-0946-A5B4-2459D725F835}"/>
              </a:ext>
            </a:extLst>
          </p:cNvPr>
          <p:cNvSpPr>
            <a:spLocks noGrp="1"/>
          </p:cNvSpPr>
          <p:nvPr>
            <p:ph type="title"/>
          </p:nvPr>
        </p:nvSpPr>
        <p:spPr>
          <a:xfrm>
            <a:off x="609600" y="398963"/>
            <a:ext cx="8229600" cy="563562"/>
          </a:xfrm>
          <a:prstGeom prst="rect">
            <a:avLst/>
          </a:prstGeom>
        </p:spPr>
        <p:txBody>
          <a:bodyPr/>
          <a:lstStyle>
            <a:lvl1pPr>
              <a:defRPr>
                <a:solidFill>
                  <a:schemeClr val="bg1"/>
                </a:solidFill>
              </a:defRPr>
            </a:lvl1pPr>
          </a:lstStyle>
          <a:p>
            <a:endParaRPr lang="en-US"/>
          </a:p>
        </p:txBody>
      </p:sp>
      <p:sp>
        <p:nvSpPr>
          <p:cNvPr id="7" name="Date Placeholder 1">
            <a:extLst>
              <a:ext uri="{FF2B5EF4-FFF2-40B4-BE49-F238E27FC236}">
                <a16:creationId xmlns:a16="http://schemas.microsoft.com/office/drawing/2014/main" id="{06F458C9-204A-224E-9353-043959614F23}"/>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8" name="Footer Placeholder 2">
            <a:extLst>
              <a:ext uri="{FF2B5EF4-FFF2-40B4-BE49-F238E27FC236}">
                <a16:creationId xmlns:a16="http://schemas.microsoft.com/office/drawing/2014/main" id="{AD73AE2D-B0F4-834D-9D27-B953D56A4A30}"/>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9" name="Slide Number Placeholder 3">
            <a:extLst>
              <a:ext uri="{FF2B5EF4-FFF2-40B4-BE49-F238E27FC236}">
                <a16:creationId xmlns:a16="http://schemas.microsoft.com/office/drawing/2014/main" id="{BE1F99AC-570F-264E-B803-40231EAD570F}"/>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11078437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9788" y="1681163"/>
            <a:ext cx="5157787" cy="823912"/>
          </a:xfrm>
          <a:prstGeom prst="rect">
            <a:avLst/>
          </a:prstGeom>
        </p:spPr>
        <p:txBody>
          <a:bodyPr anchor="b"/>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4" name="Content Placeholder 3"/>
          <p:cNvSpPr>
            <a:spLocks noGrp="1"/>
          </p:cNvSpPr>
          <p:nvPr>
            <p:ph sz="half" idx="2" hasCustomPrompt="1"/>
          </p:nvPr>
        </p:nvSpPr>
        <p:spPr>
          <a:xfrm>
            <a:off x="839788" y="2505075"/>
            <a:ext cx="5157787" cy="3684588"/>
          </a:xfrm>
          <a:prstGeom prst="rect">
            <a:avLst/>
          </a:prstGeom>
        </p:spPr>
        <p:txBody>
          <a:bodyPr/>
          <a:lstStyle>
            <a:lvl1pPr marL="228600" indent="-228600">
              <a:buClr>
                <a:srgbClr val="6DADE4"/>
              </a:buClr>
              <a:buFont typeface="Wingdings" pitchFamily="2" charset="2"/>
              <a:buChar char="§"/>
              <a:defRPr/>
            </a:lvl1pPr>
            <a:lvl3pPr marL="1143000" indent="-228600">
              <a:buFont typeface="Courier New" panose="02070309020205020404" pitchFamily="49" charset="0"/>
              <a:buChar char="o"/>
              <a:defRPr/>
            </a:lvl3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0" y="1681163"/>
            <a:ext cx="5183188" cy="823912"/>
          </a:xfrm>
          <a:prstGeom prst="rect">
            <a:avLst/>
          </a:prstGeom>
        </p:spPr>
        <p:txBody>
          <a:bodyPr anchor="b"/>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6" name="Content Placeholder 5"/>
          <p:cNvSpPr>
            <a:spLocks noGrp="1"/>
          </p:cNvSpPr>
          <p:nvPr>
            <p:ph sz="quarter" idx="4" hasCustomPrompt="1"/>
          </p:nvPr>
        </p:nvSpPr>
        <p:spPr>
          <a:xfrm>
            <a:off x="6172200" y="2505075"/>
            <a:ext cx="5183188" cy="3684588"/>
          </a:xfrm>
          <a:prstGeom prst="rect">
            <a:avLst/>
          </a:prstGeom>
        </p:spPr>
        <p:txBody>
          <a:bodyPr/>
          <a:lstStyle>
            <a:lvl1pPr marL="228600" indent="-228600">
              <a:buClr>
                <a:srgbClr val="6DADE4"/>
              </a:buClr>
              <a:buFont typeface="Wingdings" pitchFamily="2" charset="2"/>
              <a:buChar char="§"/>
              <a:defRPr/>
            </a:lvl1pPr>
            <a:lvl3pPr marL="1143000" indent="-228600">
              <a:buFont typeface="Courier New" panose="02070309020205020404" pitchFamily="49" charset="0"/>
              <a:buChar char="o"/>
              <a:defRPr/>
            </a:lvl3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8" name="Title 4">
            <a:extLst>
              <a:ext uri="{FF2B5EF4-FFF2-40B4-BE49-F238E27FC236}">
                <a16:creationId xmlns:a16="http://schemas.microsoft.com/office/drawing/2014/main" id="{4D177CBB-BD4C-4E4F-85E8-842F675D5318}"/>
              </a:ext>
            </a:extLst>
          </p:cNvPr>
          <p:cNvSpPr>
            <a:spLocks noGrp="1"/>
          </p:cNvSpPr>
          <p:nvPr>
            <p:ph type="title"/>
          </p:nvPr>
        </p:nvSpPr>
        <p:spPr>
          <a:xfrm>
            <a:off x="609600" y="398963"/>
            <a:ext cx="8229600" cy="563562"/>
          </a:xfrm>
          <a:prstGeom prst="rect">
            <a:avLst/>
          </a:prstGeom>
        </p:spPr>
        <p:txBody>
          <a:bodyPr/>
          <a:lstStyle>
            <a:lvl1pPr>
              <a:defRPr>
                <a:solidFill>
                  <a:schemeClr val="bg1"/>
                </a:solidFill>
              </a:defRPr>
            </a:lvl1pPr>
          </a:lstStyle>
          <a:p>
            <a:endParaRPr lang="en-US"/>
          </a:p>
        </p:txBody>
      </p:sp>
      <p:sp>
        <p:nvSpPr>
          <p:cNvPr id="9" name="Date Placeholder 1">
            <a:extLst>
              <a:ext uri="{FF2B5EF4-FFF2-40B4-BE49-F238E27FC236}">
                <a16:creationId xmlns:a16="http://schemas.microsoft.com/office/drawing/2014/main" id="{9DFAB986-AB33-4940-8D0A-ACEC4DC2BB72}"/>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0" name="Footer Placeholder 2">
            <a:extLst>
              <a:ext uri="{FF2B5EF4-FFF2-40B4-BE49-F238E27FC236}">
                <a16:creationId xmlns:a16="http://schemas.microsoft.com/office/drawing/2014/main" id="{2322289F-EB32-1C45-86BE-313E36A9F7F5}"/>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1" name="Slide Number Placeholder 3">
            <a:extLst>
              <a:ext uri="{FF2B5EF4-FFF2-40B4-BE49-F238E27FC236}">
                <a16:creationId xmlns:a16="http://schemas.microsoft.com/office/drawing/2014/main" id="{79AA0769-1EA5-3149-81D0-14A273960CAB}"/>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8467203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183188" y="2041071"/>
            <a:ext cx="6172200" cy="3819979"/>
          </a:xfrm>
          <a:prstGeom prst="rect">
            <a:avLst/>
          </a:prstGeom>
        </p:spPr>
        <p:txBody>
          <a:bodyPr/>
          <a:lstStyle>
            <a:lvl1pPr marL="228600" indent="-228600">
              <a:buClr>
                <a:srgbClr val="6DADE4"/>
              </a:buClr>
              <a:buFont typeface="Wingdings" pitchFamily="2" charset="2"/>
              <a:buChar char="§"/>
              <a:defRPr sz="2800"/>
            </a:lvl1pPr>
            <a:lvl2pPr>
              <a:defRPr sz="2800"/>
            </a:lvl2pPr>
            <a:lvl3pPr marL="1143000" indent="-228600">
              <a:buFont typeface="Courier New" panose="02070309020205020404" pitchFamily="49" charset="0"/>
              <a:buChar char="o"/>
              <a:defRPr sz="2400"/>
            </a:lvl3pPr>
            <a:lvl4pPr>
              <a:defRPr sz="2000"/>
            </a:lvl4pPr>
            <a:lvl5pPr>
              <a:defRPr sz="2000"/>
            </a:lvl5pPr>
            <a:lvl6pPr>
              <a:defRPr sz="2000"/>
            </a:lvl6pPr>
            <a:lvl7pPr>
              <a:defRPr sz="2000"/>
            </a:lvl7pPr>
            <a:lvl8pPr>
              <a:defRPr sz="2000"/>
            </a:lvl8pPr>
            <a:lvl9pPr>
              <a:defRPr sz="2000"/>
            </a:lvl9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p:txBody>
      </p:sp>
      <p:sp>
        <p:nvSpPr>
          <p:cNvPr id="6" name="Title 4">
            <a:extLst>
              <a:ext uri="{FF2B5EF4-FFF2-40B4-BE49-F238E27FC236}">
                <a16:creationId xmlns:a16="http://schemas.microsoft.com/office/drawing/2014/main" id="{97A79166-0713-1144-BF2F-6BCD3827CE42}"/>
              </a:ext>
            </a:extLst>
          </p:cNvPr>
          <p:cNvSpPr>
            <a:spLocks noGrp="1"/>
          </p:cNvSpPr>
          <p:nvPr>
            <p:ph type="title"/>
          </p:nvPr>
        </p:nvSpPr>
        <p:spPr>
          <a:xfrm>
            <a:off x="609600" y="398963"/>
            <a:ext cx="8229600" cy="563562"/>
          </a:xfrm>
          <a:prstGeom prst="rect">
            <a:avLst/>
          </a:prstGeom>
        </p:spPr>
        <p:txBody>
          <a:bodyPr/>
          <a:lstStyle>
            <a:lvl1pPr>
              <a:defRPr>
                <a:solidFill>
                  <a:schemeClr val="bg1"/>
                </a:solidFill>
              </a:defRPr>
            </a:lvl1pPr>
          </a:lstStyle>
          <a:p>
            <a:endParaRPr lang="en-US"/>
          </a:p>
        </p:txBody>
      </p:sp>
      <p:sp>
        <p:nvSpPr>
          <p:cNvPr id="9" name="Date Placeholder 1">
            <a:extLst>
              <a:ext uri="{FF2B5EF4-FFF2-40B4-BE49-F238E27FC236}">
                <a16:creationId xmlns:a16="http://schemas.microsoft.com/office/drawing/2014/main" id="{337B4C12-1B8E-784A-A1ED-060A597D7DDE}"/>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0" name="Footer Placeholder 2">
            <a:extLst>
              <a:ext uri="{FF2B5EF4-FFF2-40B4-BE49-F238E27FC236}">
                <a16:creationId xmlns:a16="http://schemas.microsoft.com/office/drawing/2014/main" id="{6166E961-64AE-414D-B8F5-772A94505D7A}"/>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2" name="Slide Number Placeholder 3">
            <a:extLst>
              <a:ext uri="{FF2B5EF4-FFF2-40B4-BE49-F238E27FC236}">
                <a16:creationId xmlns:a16="http://schemas.microsoft.com/office/drawing/2014/main" id="{02D893E1-5811-D44C-9B18-F5D52B684E8A}"/>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115299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2041071"/>
            <a:ext cx="6172200" cy="3819979"/>
          </a:xfrm>
          <a:prstGeom prst="rect">
            <a:avLst/>
          </a:prstGeom>
        </p:spPr>
        <p:txBody>
          <a:bodyPr/>
          <a:lstStyle>
            <a:lvl1pPr marL="0" indent="0">
              <a:buNone/>
              <a:defRPr sz="2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p:txBody>
      </p:sp>
      <p:sp>
        <p:nvSpPr>
          <p:cNvPr id="12" name="Date Placeholder 1">
            <a:extLst>
              <a:ext uri="{FF2B5EF4-FFF2-40B4-BE49-F238E27FC236}">
                <a16:creationId xmlns:a16="http://schemas.microsoft.com/office/drawing/2014/main" id="{D8440193-AA9F-9B48-868A-7802A0F3DF73}"/>
              </a:ext>
            </a:extLst>
          </p:cNvPr>
          <p:cNvSpPr>
            <a:spLocks noGrp="1"/>
          </p:cNvSpPr>
          <p:nvPr>
            <p:ph type="dt" sz="half" idx="10"/>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3" name="Footer Placeholder 2">
            <a:extLst>
              <a:ext uri="{FF2B5EF4-FFF2-40B4-BE49-F238E27FC236}">
                <a16:creationId xmlns:a16="http://schemas.microsoft.com/office/drawing/2014/main" id="{4483161F-B225-214F-9939-BEDEC0BB9A38}"/>
              </a:ext>
            </a:extLst>
          </p:cNvPr>
          <p:cNvSpPr>
            <a:spLocks noGrp="1"/>
          </p:cNvSpPr>
          <p:nvPr>
            <p:ph type="ftr" sz="quarter" idx="11"/>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4" name="Slide Number Placeholder 3">
            <a:extLst>
              <a:ext uri="{FF2B5EF4-FFF2-40B4-BE49-F238E27FC236}">
                <a16:creationId xmlns:a16="http://schemas.microsoft.com/office/drawing/2014/main" id="{D36DF6D4-C6A2-5A4B-8A23-1F6091126CCB}"/>
              </a:ext>
            </a:extLst>
          </p:cNvPr>
          <p:cNvSpPr>
            <a:spLocks noGrp="1"/>
          </p:cNvSpPr>
          <p:nvPr>
            <p:ph type="sldNum" sz="quarter" idx="12"/>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
        <p:nvSpPr>
          <p:cNvPr id="9" name="Title 4">
            <a:extLst>
              <a:ext uri="{FF2B5EF4-FFF2-40B4-BE49-F238E27FC236}">
                <a16:creationId xmlns:a16="http://schemas.microsoft.com/office/drawing/2014/main" id="{09AB5467-47DF-CD44-999A-08C62BF18B2B}"/>
              </a:ext>
            </a:extLst>
          </p:cNvPr>
          <p:cNvSpPr>
            <a:spLocks noGrp="1"/>
          </p:cNvSpPr>
          <p:nvPr>
            <p:ph type="title"/>
          </p:nvPr>
        </p:nvSpPr>
        <p:spPr>
          <a:xfrm>
            <a:off x="609600" y="398963"/>
            <a:ext cx="8229600" cy="563562"/>
          </a:xfrm>
          <a:prstGeom prst="rect">
            <a:avLst/>
          </a:prstGeo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5097531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A20CC65-E5A5-4847-8DBA-90D7C027329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6" name="Rectangle 15">
              <a:extLst>
                <a:ext uri="{FF2B5EF4-FFF2-40B4-BE49-F238E27FC236}">
                  <a16:creationId xmlns:a16="http://schemas.microsoft.com/office/drawing/2014/main" id="{EEC7F6BD-EFC7-3A44-8F3B-79FB1A4224DD}"/>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5C047110-ED9D-44F3-A333-863720E86FF0}"/>
                </a:ext>
                <a:ext uri="{C183D7F6-B498-43B3-948B-1728B52AA6E4}">
                  <adec:decorative xmlns:adec="http://schemas.microsoft.com/office/drawing/2017/decorative" val="1"/>
                </a:ext>
              </a:extLst>
            </p:cNvPr>
            <p:cNvGrpSpPr/>
            <p:nvPr userDrawn="1"/>
          </p:nvGrpSpPr>
          <p:grpSpPr>
            <a:xfrm>
              <a:off x="1524" y="0"/>
              <a:ext cx="4453288" cy="6858000"/>
              <a:chOff x="1524" y="0"/>
              <a:chExt cx="4453288" cy="6858000"/>
            </a:xfrm>
          </p:grpSpPr>
          <p:pic>
            <p:nvPicPr>
              <p:cNvPr id="17" name="Picture 16">
                <a:extLst>
                  <a:ext uri="{FF2B5EF4-FFF2-40B4-BE49-F238E27FC236}">
                    <a16:creationId xmlns:a16="http://schemas.microsoft.com/office/drawing/2014/main" id="{C891D9B3-2A86-B542-8FAE-72C8BE6FCDF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24A2981D-102C-5645-8E2D-25A7730EE33A}"/>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Slide Number Placeholder 5">
            <a:extLst>
              <a:ext uri="{FF2B5EF4-FFF2-40B4-BE49-F238E27FC236}">
                <a16:creationId xmlns:a16="http://schemas.microsoft.com/office/drawing/2014/main" id="{90096376-E13F-084D-95BF-82DAAB202C17}"/>
              </a:ext>
            </a:extLst>
          </p:cNvPr>
          <p:cNvSpPr>
            <a:spLocks noGrp="1"/>
          </p:cNvSpPr>
          <p:nvPr userDrawn="1">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sp>
        <p:nvSpPr>
          <p:cNvPr id="18" name="Title 1">
            <a:extLst>
              <a:ext uri="{FF2B5EF4-FFF2-40B4-BE49-F238E27FC236}">
                <a16:creationId xmlns:a16="http://schemas.microsoft.com/office/drawing/2014/main" id="{B0BEE46E-BFB7-264E-A34F-40BDEF2B59C6}"/>
              </a:ext>
            </a:extLst>
          </p:cNvPr>
          <p:cNvSpPr>
            <a:spLocks noGrp="1"/>
          </p:cNvSpPr>
          <p:nvPr userDrawn="1">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3" name="Picture 12" descr="evening view from outside the entrance of Johns Hopkins University&#10;Carey Business School the lights on the inside luminating people working and walk up stairs">
            <a:extLst>
              <a:ext uri="{FF2B5EF4-FFF2-40B4-BE49-F238E27FC236}">
                <a16:creationId xmlns:a16="http://schemas.microsoft.com/office/drawing/2014/main" id="{82C13420-841E-2C43-918D-10A3981B71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4279" y="685799"/>
            <a:ext cx="5943600" cy="5486400"/>
          </a:xfrm>
          <a:prstGeom prst="rect">
            <a:avLst/>
          </a:prstGeom>
        </p:spPr>
      </p:pic>
    </p:spTree>
    <p:extLst>
      <p:ext uri="{BB962C8B-B14F-4D97-AF65-F5344CB8AC3E}">
        <p14:creationId xmlns:p14="http://schemas.microsoft.com/office/powerpoint/2010/main" val="37651554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20D7E07-F897-3A4B-9059-8149509E3368}"/>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7800C57-5FBD-014D-B359-333EF5BBEA34}"/>
              </a:ext>
            </a:extLst>
          </p:cNvPr>
          <p:cNvPicPr>
            <a:picLocks noChangeAspect="1"/>
          </p:cNvPicPr>
          <p:nvPr userDrawn="1"/>
        </p:nvPicPr>
        <p:blipFill>
          <a:blip r:embed="rId3"/>
          <a:stretch>
            <a:fillRect/>
          </a:stretch>
        </p:blipFill>
        <p:spPr>
          <a:xfrm>
            <a:off x="5193793" y="9334287"/>
            <a:ext cx="2220596" cy="255346"/>
          </a:xfrm>
          <a:prstGeom prst="rect">
            <a:avLst/>
          </a:prstGeom>
        </p:spPr>
      </p:pic>
      <p:pic>
        <p:nvPicPr>
          <p:cNvPr id="5" name="Picture 4">
            <a:extLst>
              <a:ext uri="{FF2B5EF4-FFF2-40B4-BE49-F238E27FC236}">
                <a16:creationId xmlns:a16="http://schemas.microsoft.com/office/drawing/2014/main" id="{5C4C1179-DFA2-D14B-9D95-FDC88B6D5340}"/>
              </a:ext>
            </a:extLst>
          </p:cNvPr>
          <p:cNvPicPr>
            <a:picLocks noChangeAspect="1"/>
          </p:cNvPicPr>
          <p:nvPr userDrawn="1"/>
        </p:nvPicPr>
        <p:blipFill>
          <a:blip r:embed="rId3"/>
          <a:stretch>
            <a:fillRect/>
          </a:stretch>
        </p:blipFill>
        <p:spPr>
          <a:xfrm>
            <a:off x="5346193" y="9486687"/>
            <a:ext cx="2220596" cy="255346"/>
          </a:xfrm>
          <a:prstGeom prst="rect">
            <a:avLst/>
          </a:prstGeom>
        </p:spPr>
      </p:pic>
      <p:pic>
        <p:nvPicPr>
          <p:cNvPr id="9" name="Picture 8">
            <a:extLst>
              <a:ext uri="{FF2B5EF4-FFF2-40B4-BE49-F238E27FC236}">
                <a16:creationId xmlns:a16="http://schemas.microsoft.com/office/drawing/2014/main" id="{FF2DC978-AD0D-6E4D-BB6C-5931824F531C}"/>
              </a:ext>
            </a:extLst>
          </p:cNvPr>
          <p:cNvPicPr>
            <a:picLocks noChangeAspect="1"/>
          </p:cNvPicPr>
          <p:nvPr userDrawn="1"/>
        </p:nvPicPr>
        <p:blipFill>
          <a:blip r:embed="rId3"/>
          <a:stretch>
            <a:fillRect/>
          </a:stretch>
        </p:blipFill>
        <p:spPr>
          <a:xfrm>
            <a:off x="365758" y="6068143"/>
            <a:ext cx="3407695" cy="391850"/>
          </a:xfrm>
          <a:prstGeom prst="rect">
            <a:avLst/>
          </a:prstGeom>
        </p:spPr>
      </p:pic>
    </p:spTree>
    <p:extLst>
      <p:ext uri="{BB962C8B-B14F-4D97-AF65-F5344CB8AC3E}">
        <p14:creationId xmlns:p14="http://schemas.microsoft.com/office/powerpoint/2010/main" val="12253141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D8A80E-231D-438B-3268-2CCD5970B5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B6183D-4853-EB61-FAD5-D0C13A5EB3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744295-0626-7972-7035-F00E76136A7A}"/>
              </a:ext>
            </a:extLst>
          </p:cNvPr>
          <p:cNvSpPr>
            <a:spLocks noGrp="1"/>
          </p:cNvSpPr>
          <p:nvPr>
            <p:ph type="dt" sz="half" idx="10"/>
          </p:nvPr>
        </p:nvSpPr>
        <p:spPr/>
        <p:txBody>
          <a:bodyPr/>
          <a:lstStyle/>
          <a:p>
            <a:fld id="{6953B4A3-A78B-204B-A9B0-A1D75E5035D7}" type="datetimeFigureOut">
              <a:rPr lang="en-US" smtClean="0"/>
              <a:t>9/18/24</a:t>
            </a:fld>
            <a:endParaRPr lang="en-US"/>
          </a:p>
        </p:txBody>
      </p:sp>
      <p:sp>
        <p:nvSpPr>
          <p:cNvPr id="5" name="Footer Placeholder 4">
            <a:extLst>
              <a:ext uri="{FF2B5EF4-FFF2-40B4-BE49-F238E27FC236}">
                <a16:creationId xmlns:a16="http://schemas.microsoft.com/office/drawing/2014/main" id="{082AB661-964A-700A-681E-F3CCA65956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6EC519-440E-3026-3AF9-B39964AC80F5}"/>
              </a:ext>
            </a:extLst>
          </p:cNvPr>
          <p:cNvSpPr>
            <a:spLocks noGrp="1"/>
          </p:cNvSpPr>
          <p:nvPr>
            <p:ph type="sldNum" sz="quarter" idx="12"/>
          </p:nvPr>
        </p:nvSpPr>
        <p:spPr/>
        <p:txBody>
          <a:bodyPr/>
          <a:lstStyle/>
          <a:p>
            <a:fld id="{8091B54C-6E98-F446-A871-306BB8C9C6E0}" type="slidenum">
              <a:rPr lang="en-US" smtClean="0"/>
              <a:t>‹#›</a:t>
            </a:fld>
            <a:endParaRPr lang="en-US"/>
          </a:p>
        </p:txBody>
      </p:sp>
    </p:spTree>
    <p:extLst>
      <p:ext uri="{BB962C8B-B14F-4D97-AF65-F5344CB8AC3E}">
        <p14:creationId xmlns:p14="http://schemas.microsoft.com/office/powerpoint/2010/main" val="4494023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14D9132-A6B9-4FE4-9950-5DAD070269F6}" type="datetimeFigureOut">
              <a:rPr lang="en-US" smtClean="0"/>
              <a:t>9/18/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5313770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74FD7B1-2AF7-4B6E-AB4D-3198914A9714}"/>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6" name="Rectangle 15">
              <a:extLst>
                <a:ext uri="{FF2B5EF4-FFF2-40B4-BE49-F238E27FC236}">
                  <a16:creationId xmlns:a16="http://schemas.microsoft.com/office/drawing/2014/main" id="{EEC7F6BD-EFC7-3A44-8F3B-79FB1A4224DD}"/>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C891D9B3-2A86-B542-8FAE-72C8BE6FCDF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24A2981D-102C-5645-8E2D-25A7730EE33A}"/>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90096376-E13F-084D-95BF-82DAAB202C17}"/>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sp>
        <p:nvSpPr>
          <p:cNvPr id="18" name="Title 1">
            <a:extLst>
              <a:ext uri="{FF2B5EF4-FFF2-40B4-BE49-F238E27FC236}">
                <a16:creationId xmlns:a16="http://schemas.microsoft.com/office/drawing/2014/main" id="{B0BEE46E-BFB7-264E-A34F-40BDEF2B59C6}"/>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0" name="Picture 9" descr="an ethnically diverse group of 3 featuring a couple consulting with a professional and sharing laptop outside on a balcony overlooking boats in the harbor.">
            <a:extLst>
              <a:ext uri="{FF2B5EF4-FFF2-40B4-BE49-F238E27FC236}">
                <a16:creationId xmlns:a16="http://schemas.microsoft.com/office/drawing/2014/main" id="{2B71BA05-260E-C34C-8DA8-7C09BE198C0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799"/>
            <a:ext cx="5943600" cy="5486400"/>
          </a:xfrm>
          <a:prstGeom prst="rect">
            <a:avLst/>
          </a:prstGeom>
        </p:spPr>
      </p:pic>
    </p:spTree>
    <p:extLst>
      <p:ext uri="{BB962C8B-B14F-4D97-AF65-F5344CB8AC3E}">
        <p14:creationId xmlns:p14="http://schemas.microsoft.com/office/powerpoint/2010/main" val="17296569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E6AFB5C-577F-4D9C-8D83-7B0C7BD82356}"/>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6" name="Rectangle 15">
              <a:extLst>
                <a:ext uri="{FF2B5EF4-FFF2-40B4-BE49-F238E27FC236}">
                  <a16:creationId xmlns:a16="http://schemas.microsoft.com/office/drawing/2014/main" id="{EEC7F6BD-EFC7-3A44-8F3B-79FB1A4224DD}"/>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C891D9B3-2A86-B542-8FAE-72C8BE6FCDF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24A2981D-102C-5645-8E2D-25A7730EE33A}"/>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90096376-E13F-084D-95BF-82DAAB202C17}"/>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sp>
        <p:nvSpPr>
          <p:cNvPr id="18" name="Title 1">
            <a:extLst>
              <a:ext uri="{FF2B5EF4-FFF2-40B4-BE49-F238E27FC236}">
                <a16:creationId xmlns:a16="http://schemas.microsoft.com/office/drawing/2014/main" id="{B0BEE46E-BFB7-264E-A34F-40BDEF2B59C6}"/>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5" name="Picture 14" descr="3 smiling people at the harbor sharing a laptop at a picnic table ">
            <a:extLst>
              <a:ext uri="{FF2B5EF4-FFF2-40B4-BE49-F238E27FC236}">
                <a16:creationId xmlns:a16="http://schemas.microsoft.com/office/drawing/2014/main" id="{F41DF1C5-9B78-DB4A-9F8E-515B59686E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Tree>
    <p:extLst>
      <p:ext uri="{BB962C8B-B14F-4D97-AF65-F5344CB8AC3E}">
        <p14:creationId xmlns:p14="http://schemas.microsoft.com/office/powerpoint/2010/main" val="1143727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4">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E81971F-0850-2B48-9BF8-A765CD378F0F}"/>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AE27CE23-E2F8-4302-8DE3-122E34DBC8A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7" name="Rectangle 16">
              <a:extLst>
                <a:ext uri="{FF2B5EF4-FFF2-40B4-BE49-F238E27FC236}">
                  <a16:creationId xmlns:a16="http://schemas.microsoft.com/office/drawing/2014/main" id="{41681678-06C2-4941-9335-DFA644A1045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507A249-900B-E54A-963B-3CB24ABDB1F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9466B304-D217-6145-B0D4-AC71B29D85A2}"/>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descr="outside during daylight shot of Johns Hopkins Carey Busines school looking up at the tall neighborhood building in the background">
            <a:extLst>
              <a:ext uri="{FF2B5EF4-FFF2-40B4-BE49-F238E27FC236}">
                <a16:creationId xmlns:a16="http://schemas.microsoft.com/office/drawing/2014/main" id="{36EA6BE4-3C0F-BA48-8684-DA9E40CA40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
        <p:nvSpPr>
          <p:cNvPr id="10" name="Title 1">
            <a:extLst>
              <a:ext uri="{FF2B5EF4-FFF2-40B4-BE49-F238E27FC236}">
                <a16:creationId xmlns:a16="http://schemas.microsoft.com/office/drawing/2014/main" id="{9F4A3D70-DA23-604C-BC42-17FF5225535A}"/>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spTree>
    <p:extLst>
      <p:ext uri="{BB962C8B-B14F-4D97-AF65-F5344CB8AC3E}">
        <p14:creationId xmlns:p14="http://schemas.microsoft.com/office/powerpoint/2010/main" val="5015089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E81971F-0850-2B48-9BF8-A765CD378F0F}"/>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02BB46A9-6C4A-4A5A-A54F-DB4992F73C2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7" name="Rectangle 16">
              <a:extLst>
                <a:ext uri="{FF2B5EF4-FFF2-40B4-BE49-F238E27FC236}">
                  <a16:creationId xmlns:a16="http://schemas.microsoft.com/office/drawing/2014/main" id="{41681678-06C2-4941-9335-DFA644A1045A}"/>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507A249-900B-E54A-963B-3CB24ABDB1F0}"/>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9466B304-D217-6145-B0D4-AC71B29D85A2}"/>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1">
            <a:extLst>
              <a:ext uri="{FF2B5EF4-FFF2-40B4-BE49-F238E27FC236}">
                <a16:creationId xmlns:a16="http://schemas.microsoft.com/office/drawing/2014/main" id="{9F4A3D70-DA23-604C-BC42-17FF5225535A}"/>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4" name="Picture 13" descr="happy young female student siting inside Carey Business School Building at a laptop looking up">
            <a:extLst>
              <a:ext uri="{FF2B5EF4-FFF2-40B4-BE49-F238E27FC236}">
                <a16:creationId xmlns:a16="http://schemas.microsoft.com/office/drawing/2014/main" id="{3F4291E1-EE9D-FA49-9296-DFCC62CE70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Tree>
    <p:extLst>
      <p:ext uri="{BB962C8B-B14F-4D97-AF65-F5344CB8AC3E}">
        <p14:creationId xmlns:p14="http://schemas.microsoft.com/office/powerpoint/2010/main" val="18949044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6">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E81971F-0850-2B48-9BF8-A765CD378F0F}"/>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BCB42F89-EBE5-43FC-B8A0-869B9881562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7" name="Rectangle 16">
              <a:extLst>
                <a:ext uri="{FF2B5EF4-FFF2-40B4-BE49-F238E27FC236}">
                  <a16:creationId xmlns:a16="http://schemas.microsoft.com/office/drawing/2014/main" id="{41681678-06C2-4941-9335-DFA644A1045A}"/>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507A249-900B-E54A-963B-3CB24ABDB1F0}"/>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9466B304-D217-6145-B0D4-AC71B29D85A2}"/>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1">
            <a:extLst>
              <a:ext uri="{FF2B5EF4-FFF2-40B4-BE49-F238E27FC236}">
                <a16:creationId xmlns:a16="http://schemas.microsoft.com/office/drawing/2014/main" id="{9F4A3D70-DA23-604C-BC42-17FF5225535A}"/>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3" name="Picture 12" descr="Carey Business School students in a study area happily looking over each others work with other student working in the background">
            <a:extLst>
              <a:ext uri="{FF2B5EF4-FFF2-40B4-BE49-F238E27FC236}">
                <a16:creationId xmlns:a16="http://schemas.microsoft.com/office/drawing/2014/main" id="{3D7D0F53-61CD-7644-BF2F-F02C9E79153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799"/>
            <a:ext cx="5943600" cy="5486400"/>
          </a:xfrm>
          <a:prstGeom prst="rect">
            <a:avLst/>
          </a:prstGeom>
        </p:spPr>
      </p:pic>
    </p:spTree>
    <p:extLst>
      <p:ext uri="{BB962C8B-B14F-4D97-AF65-F5344CB8AC3E}">
        <p14:creationId xmlns:p14="http://schemas.microsoft.com/office/powerpoint/2010/main" val="30831837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7">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92F1A10A-605C-DC40-BDB5-54760D9F365A}"/>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AB19C853-E7BA-453F-AFC2-500BAEFAF496}"/>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0" name="Rectangle 9">
              <a:extLst>
                <a:ext uri="{FF2B5EF4-FFF2-40B4-BE49-F238E27FC236}">
                  <a16:creationId xmlns:a16="http://schemas.microsoft.com/office/drawing/2014/main" id="{8437B004-10D6-614A-B3D2-D8C066ACAE54}"/>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9DE25BF1-A725-FD4B-8E22-C432EF6F0F3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4327422E-7EF0-284C-B345-46FCE982DA5C}"/>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3" name="Picture 12" descr="4 students in horticultural lab greenhouse discussing a plants surrounded by rows of a variety of other plants">
            <a:extLst>
              <a:ext uri="{FF2B5EF4-FFF2-40B4-BE49-F238E27FC236}">
                <a16:creationId xmlns:a16="http://schemas.microsoft.com/office/drawing/2014/main" id="{A5ABE423-32D1-2A40-9511-2BFCD5D9B88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
        <p:nvSpPr>
          <p:cNvPr id="9" name="Title 1">
            <a:extLst>
              <a:ext uri="{FF2B5EF4-FFF2-40B4-BE49-F238E27FC236}">
                <a16:creationId xmlns:a16="http://schemas.microsoft.com/office/drawing/2014/main" id="{C4BDDD9B-DD04-6648-8667-CD6CB5010E72}"/>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spTree>
    <p:extLst>
      <p:ext uri="{BB962C8B-B14F-4D97-AF65-F5344CB8AC3E}">
        <p14:creationId xmlns:p14="http://schemas.microsoft.com/office/powerpoint/2010/main" val="2341107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8">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B424F21-24B5-4EF7-A38F-3B4CDAC4B302}"/>
              </a:ext>
              <a:ext uri="{C183D7F6-B498-43B3-948B-1728B52AA6E4}">
                <adec:decorative xmlns:adec="http://schemas.microsoft.com/office/drawing/2017/decorative" val="1"/>
              </a:ext>
            </a:extLst>
          </p:cNvPr>
          <p:cNvGrpSpPr/>
          <p:nvPr userDrawn="1"/>
        </p:nvGrpSpPr>
        <p:grpSpPr>
          <a:xfrm>
            <a:off x="-41594" y="-93518"/>
            <a:ext cx="12275188" cy="6951518"/>
            <a:chOff x="-41594" y="-46759"/>
            <a:chExt cx="12275188" cy="6951518"/>
          </a:xfrm>
        </p:grpSpPr>
        <p:sp>
          <p:nvSpPr>
            <p:cNvPr id="9" name="Rectangle 8">
              <a:extLst>
                <a:ext uri="{FF2B5EF4-FFF2-40B4-BE49-F238E27FC236}">
                  <a16:creationId xmlns:a16="http://schemas.microsoft.com/office/drawing/2014/main" id="{83AC2EA1-820B-F844-A1AC-162DE6DA4EEB}"/>
                </a:ext>
                <a:ext uri="{C183D7F6-B498-43B3-948B-1728B52AA6E4}">
                  <adec:decorative xmlns:adec="http://schemas.microsoft.com/office/drawing/2017/decorative" val="1"/>
                </a:ext>
              </a:extLst>
            </p:cNvPr>
            <p:cNvSpPr/>
            <p:nvPr userDrawn="1"/>
          </p:nvSpPr>
          <p:spPr>
            <a:xfrm>
              <a:off x="-41594" y="-46759"/>
              <a:ext cx="12275188" cy="6951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3B9B22B9-AA09-764E-9921-AA7444FC42A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090" y="-46759"/>
              <a:ext cx="4402628" cy="6951518"/>
            </a:xfrm>
            <a:prstGeom prst="rect">
              <a:avLst/>
            </a:prstGeom>
          </p:spPr>
        </p:pic>
        <p:sp>
          <p:nvSpPr>
            <p:cNvPr id="8" name="Rectangle 7">
              <a:extLst>
                <a:ext uri="{FF2B5EF4-FFF2-40B4-BE49-F238E27FC236}">
                  <a16:creationId xmlns:a16="http://schemas.microsoft.com/office/drawing/2014/main" id="{34B7CFCF-BED2-D440-9665-BCF5E5C743B4}"/>
                </a:ext>
                <a:ext uri="{C183D7F6-B498-43B3-948B-1728B52AA6E4}">
                  <adec:decorative xmlns:adec="http://schemas.microsoft.com/office/drawing/2017/decorative" val="1"/>
                </a:ext>
              </a:extLst>
            </p:cNvPr>
            <p:cNvSpPr/>
            <p:nvPr userDrawn="1"/>
          </p:nvSpPr>
          <p:spPr>
            <a:xfrm>
              <a:off x="4344549" y="-46759"/>
              <a:ext cx="110638" cy="6951518"/>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5C1258AF-86B6-824E-8979-814EE136BE40}"/>
              </a:ext>
            </a:extLst>
          </p:cNvPr>
          <p:cNvSpPr>
            <a:spLocks noGrp="1"/>
          </p:cNvSpPr>
          <p:nvPr>
            <p:ph type="sldNum" sz="quarter" idx="12"/>
          </p:nvPr>
        </p:nvSpPr>
        <p:spPr>
          <a:xfrm>
            <a:off x="667623" y="6330049"/>
            <a:ext cx="2761918" cy="370102"/>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pic>
        <p:nvPicPr>
          <p:cNvPr id="13" name="Picture 12" descr="happy student sitting outside in a study area at a laptop smiling at a another student out of the camera frame">
            <a:extLst>
              <a:ext uri="{FF2B5EF4-FFF2-40B4-BE49-F238E27FC236}">
                <a16:creationId xmlns:a16="http://schemas.microsoft.com/office/drawing/2014/main" id="{42218B5D-57BE-DF4F-A02F-4D1921D9195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36458" y="648393"/>
            <a:ext cx="6024648" cy="5561214"/>
          </a:xfrm>
          <a:prstGeom prst="rect">
            <a:avLst/>
          </a:prstGeom>
        </p:spPr>
      </p:pic>
      <p:sp>
        <p:nvSpPr>
          <p:cNvPr id="10" name="Title 1">
            <a:extLst>
              <a:ext uri="{FF2B5EF4-FFF2-40B4-BE49-F238E27FC236}">
                <a16:creationId xmlns:a16="http://schemas.microsoft.com/office/drawing/2014/main" id="{78093BB3-EEE2-C849-94DD-7ACA373F767B}"/>
              </a:ext>
            </a:extLst>
          </p:cNvPr>
          <p:cNvSpPr>
            <a:spLocks noGrp="1"/>
          </p:cNvSpPr>
          <p:nvPr>
            <p:ph type="ctrTitle" hasCustomPrompt="1"/>
          </p:nvPr>
        </p:nvSpPr>
        <p:spPr>
          <a:xfrm>
            <a:off x="7097399" y="648394"/>
            <a:ext cx="4624706" cy="5561214"/>
          </a:xfrm>
          <a:prstGeom prst="rect">
            <a:avLst/>
          </a:prstGeom>
        </p:spPr>
        <p:txBody>
          <a:bodyPr anchor="ctr"/>
          <a:lstStyle>
            <a:lvl1pPr algn="ctr">
              <a:defRPr sz="6000">
                <a:solidFill>
                  <a:srgbClr val="002D75"/>
                </a:solidFill>
              </a:defRPr>
            </a:lvl1pPr>
          </a:lstStyle>
          <a:p>
            <a:r>
              <a:rPr lang="en-US"/>
              <a:t>Section title</a:t>
            </a:r>
          </a:p>
        </p:txBody>
      </p:sp>
    </p:spTree>
    <p:extLst>
      <p:ext uri="{BB962C8B-B14F-4D97-AF65-F5344CB8AC3E}">
        <p14:creationId xmlns:p14="http://schemas.microsoft.com/office/powerpoint/2010/main" val="39165345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Date Placeholder 1">
            <a:extLst>
              <a:ext uri="{FF2B5EF4-FFF2-40B4-BE49-F238E27FC236}">
                <a16:creationId xmlns:a16="http://schemas.microsoft.com/office/drawing/2014/main" id="{C7454B22-3047-7C4A-B82D-B01E02E5F43C}"/>
              </a:ext>
            </a:extLst>
          </p:cNvPr>
          <p:cNvSpPr>
            <a:spLocks noGrp="1"/>
          </p:cNvSpPr>
          <p:nvPr>
            <p:ph type="dt" sz="half" idx="2"/>
          </p:nvPr>
        </p:nvSpPr>
        <p:spPr>
          <a:xfrm>
            <a:off x="461682" y="6356350"/>
            <a:ext cx="2743200" cy="365125"/>
          </a:xfrm>
          <a:prstGeom prst="rect">
            <a:avLst/>
          </a:prstGeom>
        </p:spPr>
        <p:txBody>
          <a:bodyPr/>
          <a:lstStyle>
            <a:lvl1pPr algn="l">
              <a:defRPr sz="800">
                <a:solidFill>
                  <a:schemeClr val="bg1">
                    <a:lumMod val="50000"/>
                  </a:schemeClr>
                </a:solidFill>
              </a:defRPr>
            </a:lvl1pPr>
          </a:lstStyle>
          <a:p>
            <a:endParaRPr lang="en-US"/>
          </a:p>
        </p:txBody>
      </p:sp>
      <p:sp>
        <p:nvSpPr>
          <p:cNvPr id="15" name="Footer Placeholder 2">
            <a:extLst>
              <a:ext uri="{FF2B5EF4-FFF2-40B4-BE49-F238E27FC236}">
                <a16:creationId xmlns:a16="http://schemas.microsoft.com/office/drawing/2014/main" id="{B0B01A15-968E-CF4B-A08C-923F271F1E51}"/>
              </a:ext>
            </a:extLst>
          </p:cNvPr>
          <p:cNvSpPr>
            <a:spLocks noGrp="1"/>
          </p:cNvSpPr>
          <p:nvPr>
            <p:ph type="ftr" sz="quarter" idx="3"/>
          </p:nvPr>
        </p:nvSpPr>
        <p:spPr>
          <a:xfrm>
            <a:off x="4038600" y="6356350"/>
            <a:ext cx="4114800" cy="365125"/>
          </a:xfrm>
          <a:prstGeom prst="rect">
            <a:avLst/>
          </a:prstGeom>
        </p:spPr>
        <p:txBody>
          <a:bodyPr/>
          <a:lstStyle>
            <a:lvl1pPr algn="ctr">
              <a:defRPr sz="800">
                <a:solidFill>
                  <a:schemeClr val="bg1">
                    <a:lumMod val="50000"/>
                  </a:schemeClr>
                </a:solidFill>
              </a:defRPr>
            </a:lvl1pPr>
          </a:lstStyle>
          <a:p>
            <a:endParaRPr lang="en-US"/>
          </a:p>
        </p:txBody>
      </p:sp>
      <p:sp>
        <p:nvSpPr>
          <p:cNvPr id="16" name="Slide Number Placeholder 3">
            <a:extLst>
              <a:ext uri="{FF2B5EF4-FFF2-40B4-BE49-F238E27FC236}">
                <a16:creationId xmlns:a16="http://schemas.microsoft.com/office/drawing/2014/main" id="{56D816E7-754C-3E4B-9223-61722AFE9E97}"/>
              </a:ext>
            </a:extLst>
          </p:cNvPr>
          <p:cNvSpPr>
            <a:spLocks noGrp="1"/>
          </p:cNvSpPr>
          <p:nvPr>
            <p:ph type="sldNum" sz="quarter" idx="4"/>
          </p:nvPr>
        </p:nvSpPr>
        <p:spPr>
          <a:xfrm>
            <a:off x="8915400" y="6356350"/>
            <a:ext cx="2743200" cy="365125"/>
          </a:xfrm>
          <a:prstGeom prst="rect">
            <a:avLst/>
          </a:prstGeom>
        </p:spPr>
        <p:txBody>
          <a:bodyPr/>
          <a:lstStyle>
            <a:lvl1pPr algn="r">
              <a:defRPr sz="800">
                <a:solidFill>
                  <a:schemeClr val="bg1">
                    <a:lumMod val="50000"/>
                  </a:schemeClr>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4045BD4F-30A4-4607-8114-4574089B85DC}"/>
              </a:ext>
              <a:ext uri="{C183D7F6-B498-43B3-948B-1728B52AA6E4}">
                <adec:decorative xmlns:adec="http://schemas.microsoft.com/office/drawing/2017/decorative" val="1"/>
              </a:ext>
            </a:extLst>
          </p:cNvPr>
          <p:cNvGrpSpPr/>
          <p:nvPr userDrawn="1"/>
        </p:nvGrpSpPr>
        <p:grpSpPr>
          <a:xfrm>
            <a:off x="-1" y="0"/>
            <a:ext cx="12192001" cy="1464416"/>
            <a:chOff x="-1" y="0"/>
            <a:chExt cx="12192001" cy="1464416"/>
          </a:xfrm>
        </p:grpSpPr>
        <p:pic>
          <p:nvPicPr>
            <p:cNvPr id="6" name="Picture 5">
              <a:extLst>
                <a:ext uri="{FF2B5EF4-FFF2-40B4-BE49-F238E27FC236}">
                  <a16:creationId xmlns:a16="http://schemas.microsoft.com/office/drawing/2014/main" id="{A68ED655-8A05-C04D-ADC9-4CFB1337715C}"/>
                </a:ext>
                <a:ext uri="{C183D7F6-B498-43B3-948B-1728B52AA6E4}">
                  <adec:decorative xmlns:adec="http://schemas.microsoft.com/office/drawing/2017/decorative" val="1"/>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1" y="0"/>
              <a:ext cx="12192000" cy="1371600"/>
            </a:xfrm>
            <a:prstGeom prst="rect">
              <a:avLst/>
            </a:prstGeom>
          </p:spPr>
        </p:pic>
        <p:pic>
          <p:nvPicPr>
            <p:cNvPr id="12" name="Picture 11">
              <a:extLst>
                <a:ext uri="{FF2B5EF4-FFF2-40B4-BE49-F238E27FC236}">
                  <a16:creationId xmlns:a16="http://schemas.microsoft.com/office/drawing/2014/main" id="{9C4D1675-04C7-D54F-A463-A30BD9006FDF}"/>
                </a:ext>
              </a:extLst>
            </p:cNvPr>
            <p:cNvPicPr>
              <a:picLocks noChangeAspect="1"/>
            </p:cNvPicPr>
            <p:nvPr userDrawn="1"/>
          </p:nvPicPr>
          <p:blipFill rotWithShape="1">
            <a:blip r:embed="rId25" cstate="email">
              <a:alphaModFix amt="35000"/>
              <a:extLst>
                <a:ext uri="{28A0092B-C50C-407E-A947-70E740481C1C}">
                  <a14:useLocalDpi xmlns:a14="http://schemas.microsoft.com/office/drawing/2010/main"/>
                </a:ext>
              </a:extLst>
            </a:blip>
            <a:srcRect l="-1038" r="25763"/>
            <a:stretch/>
          </p:blipFill>
          <p:spPr>
            <a:xfrm>
              <a:off x="11237120" y="14361"/>
              <a:ext cx="954879" cy="1360770"/>
            </a:xfrm>
            <a:prstGeom prst="rect">
              <a:avLst/>
            </a:prstGeom>
            <a:effectLst>
              <a:outerShdw blurRad="50800" dist="50800" dir="5400000" algn="ctr" rotWithShape="0">
                <a:srgbClr val="000000">
                  <a:alpha val="0"/>
                </a:srgbClr>
              </a:outerShdw>
              <a:reflection endPos="65000" dist="50800" dir="5400000" sy="-100000" algn="bl" rotWithShape="0"/>
            </a:effectLst>
          </p:spPr>
        </p:pic>
        <p:sp>
          <p:nvSpPr>
            <p:cNvPr id="22" name="Rectangle 21">
              <a:extLst>
                <a:ext uri="{FF2B5EF4-FFF2-40B4-BE49-F238E27FC236}">
                  <a16:creationId xmlns:a16="http://schemas.microsoft.com/office/drawing/2014/main" id="{7F11FA76-8D4F-5846-AA52-4235DE0EADE4}"/>
                </a:ext>
              </a:extLst>
            </p:cNvPr>
            <p:cNvSpPr/>
            <p:nvPr userDrawn="1"/>
          </p:nvSpPr>
          <p:spPr>
            <a:xfrm>
              <a:off x="-1" y="1346088"/>
              <a:ext cx="12191999" cy="118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1A86A1D4-9651-AA4D-BC37-9BEA747718A1}"/>
                </a:ext>
              </a:extLst>
            </p:cNvPr>
            <p:cNvPicPr>
              <a:picLocks noChangeAspect="1"/>
            </p:cNvPicPr>
            <p:nvPr userDrawn="1"/>
          </p:nvPicPr>
          <p:blipFill rotWithShape="1">
            <a:blip r:embed="rId25" cstate="email">
              <a:alphaModFix amt="35000"/>
              <a:extLst>
                <a:ext uri="{28A0092B-C50C-407E-A947-70E740481C1C}">
                  <a14:useLocalDpi xmlns:a14="http://schemas.microsoft.com/office/drawing/2010/main"/>
                </a:ext>
              </a:extLst>
            </a:blip>
            <a:srcRect l="-1038" r="25763"/>
            <a:stretch/>
          </p:blipFill>
          <p:spPr>
            <a:xfrm>
              <a:off x="11237121" y="12596"/>
              <a:ext cx="954879" cy="1360770"/>
            </a:xfrm>
            <a:prstGeom prst="rect">
              <a:avLst/>
            </a:prstGeom>
            <a:effectLst>
              <a:outerShdw blurRad="50800" dist="50800" dir="5400000" algn="ctr" rotWithShape="0">
                <a:srgbClr val="000000">
                  <a:alpha val="0"/>
                </a:srgbClr>
              </a:outerShdw>
              <a:reflection endPos="65000" dist="50800" dir="5400000" sy="-100000" algn="bl" rotWithShape="0"/>
            </a:effectLst>
          </p:spPr>
        </p:pic>
        <p:pic>
          <p:nvPicPr>
            <p:cNvPr id="10" name="Picture 9">
              <a:extLst>
                <a:ext uri="{FF2B5EF4-FFF2-40B4-BE49-F238E27FC236}">
                  <a16:creationId xmlns:a16="http://schemas.microsoft.com/office/drawing/2014/main" id="{B4C8FDAB-76EA-8A4A-B238-7CD0256A138A}"/>
                </a:ext>
              </a:extLst>
            </p:cNvPr>
            <p:cNvPicPr>
              <a:picLocks noChangeAspect="1"/>
            </p:cNvPicPr>
            <p:nvPr userDrawn="1"/>
          </p:nvPicPr>
          <p:blipFill rotWithShape="1">
            <a:blip r:embed="rId25" cstate="email">
              <a:alphaModFix amt="35000"/>
              <a:extLst>
                <a:ext uri="{28A0092B-C50C-407E-A947-70E740481C1C}">
                  <a14:useLocalDpi xmlns:a14="http://schemas.microsoft.com/office/drawing/2010/main"/>
                </a:ext>
              </a:extLst>
            </a:blip>
            <a:srcRect l="-1038" r="25763"/>
            <a:stretch/>
          </p:blipFill>
          <p:spPr>
            <a:xfrm>
              <a:off x="11237121" y="12596"/>
              <a:ext cx="954879" cy="1360770"/>
            </a:xfrm>
            <a:prstGeom prst="rect">
              <a:avLst/>
            </a:prstGeom>
          </p:spPr>
        </p:pic>
      </p:gr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655" r:id="rId1"/>
    <p:sldLayoutId id="2147483669" r:id="rId2"/>
    <p:sldLayoutId id="2147483684" r:id="rId3"/>
    <p:sldLayoutId id="2147483683" r:id="rId4"/>
    <p:sldLayoutId id="2147483672" r:id="rId5"/>
    <p:sldLayoutId id="2147483685" r:id="rId6"/>
    <p:sldLayoutId id="2147483686" r:id="rId7"/>
    <p:sldLayoutId id="2147483675" r:id="rId8"/>
    <p:sldLayoutId id="2147483674" r:id="rId9"/>
    <p:sldLayoutId id="2147483687" r:id="rId10"/>
    <p:sldLayoutId id="2147483688" r:id="rId11"/>
    <p:sldLayoutId id="2147483678" r:id="rId12"/>
    <p:sldLayoutId id="2147483679" r:id="rId13"/>
    <p:sldLayoutId id="2147483668" r:id="rId14"/>
    <p:sldLayoutId id="2147483682" r:id="rId15"/>
    <p:sldLayoutId id="2147483652" r:id="rId16"/>
    <p:sldLayoutId id="2147483653" r:id="rId17"/>
    <p:sldLayoutId id="2147483656" r:id="rId18"/>
    <p:sldLayoutId id="2147483657" r:id="rId19"/>
    <p:sldLayoutId id="2147483681" r:id="rId20"/>
    <p:sldLayoutId id="2147483693" r:id="rId21"/>
    <p:sldLayoutId id="2147483694" r:id="rId2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1.xml"/><Relationship Id="rId1" Type="http://schemas.openxmlformats.org/officeDocument/2006/relationships/tags" Target="../tags/tag1.xml"/><Relationship Id="rId5" Type="http://schemas.openxmlformats.org/officeDocument/2006/relationships/image" Target="../media/image21.jpeg"/><Relationship Id="rId4" Type="http://schemas.openxmlformats.org/officeDocument/2006/relationships/image" Target="../media/image20.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2.xml"/><Relationship Id="rId1" Type="http://schemas.openxmlformats.org/officeDocument/2006/relationships/tags" Target="../tags/tag2.xml"/><Relationship Id="rId4" Type="http://schemas.openxmlformats.org/officeDocument/2006/relationships/image" Target="../media/image22.emf"/></Relationships>
</file>

<file path=ppt/slides/_rels/slide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5.jpe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AD5D4-857D-A846-A64C-DFC5AD0680ED}"/>
              </a:ext>
            </a:extLst>
          </p:cNvPr>
          <p:cNvSpPr>
            <a:spLocks noGrp="1"/>
          </p:cNvSpPr>
          <p:nvPr>
            <p:ph type="title"/>
          </p:nvPr>
        </p:nvSpPr>
        <p:spPr>
          <a:xfrm>
            <a:off x="5181153" y="2562541"/>
            <a:ext cx="6734182" cy="2115639"/>
          </a:xfrm>
        </p:spPr>
        <p:txBody>
          <a:bodyPr lIns="91440" tIns="45720" rIns="91440" bIns="45720" anchor="t"/>
          <a:lstStyle/>
          <a:p>
            <a:r>
              <a:rPr lang="en-US" sz="5400" dirty="0"/>
              <a:t>Public Communication</a:t>
            </a:r>
            <a:br>
              <a:rPr lang="en-US" sz="5400" dirty="0">
                <a:cs typeface="Calibri Light"/>
              </a:rPr>
            </a:br>
            <a:br>
              <a:rPr lang="en-US" dirty="0">
                <a:cs typeface="Calibri Light"/>
              </a:rPr>
            </a:br>
            <a:r>
              <a:rPr lang="en-US" sz="2000" dirty="0">
                <a:cs typeface="Calibri Light"/>
              </a:rPr>
              <a:t>Dr. Clara Ma</a:t>
            </a:r>
            <a:br>
              <a:rPr lang="en-US" sz="2000" dirty="0">
                <a:cs typeface="Calibri Light"/>
              </a:rPr>
            </a:br>
            <a:br>
              <a:rPr lang="en-US" sz="2000" dirty="0">
                <a:cs typeface="Calibri Light"/>
              </a:rPr>
            </a:br>
            <a:r>
              <a:rPr lang="en-US" sz="2000" dirty="0">
                <a:cs typeface="Calibri Light"/>
              </a:rPr>
              <a:t>Have you ever listened to a presenter who sounded super smart – without having any ideas what she really said?</a:t>
            </a:r>
            <a:br>
              <a:rPr lang="en-US" sz="2000" dirty="0">
                <a:cs typeface="Calibri Light"/>
              </a:rPr>
            </a:br>
            <a:br>
              <a:rPr lang="en-US" sz="2000" dirty="0">
                <a:cs typeface="Calibri Light"/>
              </a:rPr>
            </a:br>
            <a:br>
              <a:rPr lang="en-US" sz="2000" dirty="0">
                <a:cs typeface="Calibri Light"/>
              </a:rPr>
            </a:br>
            <a:endParaRPr lang="en-US" sz="1800" dirty="0">
              <a:cs typeface="Calibri Light"/>
            </a:endParaRPr>
          </a:p>
        </p:txBody>
      </p:sp>
    </p:spTree>
    <p:extLst>
      <p:ext uri="{BB962C8B-B14F-4D97-AF65-F5344CB8AC3E}">
        <p14:creationId xmlns:p14="http://schemas.microsoft.com/office/powerpoint/2010/main" val="13515934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103" name="Rectangle 4102">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5" name="Rectangle 4104">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7" name="Rectangle 4106">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9" name="Rectangle 4108">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67BEF7B9-98B0-EC74-1943-F3FB327AE475}"/>
              </a:ext>
            </a:extLst>
          </p:cNvPr>
          <p:cNvSpPr>
            <a:spLocks noGrp="1"/>
          </p:cNvSpPr>
          <p:nvPr>
            <p:ph type="ftr" sz="quarter" idx="11"/>
          </p:nvPr>
        </p:nvSpPr>
        <p:spPr>
          <a:xfrm rot="5400000">
            <a:off x="-1828800" y="2002536"/>
            <a:ext cx="4114800" cy="365125"/>
          </a:xfrm>
        </p:spPr>
        <p:txBody>
          <a:bodyPr vert="horz" lIns="91440" tIns="45720" rIns="91440" bIns="45720" rtlCol="0" anchor="ctr">
            <a:normAutofit/>
          </a:bodyPr>
          <a:lstStyle/>
          <a:p>
            <a:pPr algn="l"/>
            <a:endParaRPr lang="en-US" sz="1100" kern="1200">
              <a:solidFill>
                <a:srgbClr val="FFFFFF"/>
              </a:solidFill>
              <a:latin typeface="+mn-lt"/>
              <a:ea typeface="+mn-ea"/>
              <a:cs typeface="+mn-cs"/>
            </a:endParaRPr>
          </a:p>
        </p:txBody>
      </p:sp>
      <p:pic>
        <p:nvPicPr>
          <p:cNvPr id="4098" name="Picture 2" descr="May be an image of text">
            <a:extLst>
              <a:ext uri="{FF2B5EF4-FFF2-40B4-BE49-F238E27FC236}">
                <a16:creationId xmlns:a16="http://schemas.microsoft.com/office/drawing/2014/main" id="{E44CC733-DF28-D7C5-6545-4ACE40FCD26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73983" y="457200"/>
            <a:ext cx="4844034" cy="5943600"/>
          </a:xfrm>
          <a:prstGeom prst="rect">
            <a:avLst/>
          </a:prstGeom>
          <a:noFill/>
          <a:extLst>
            <a:ext uri="{909E8E84-426E-40DD-AFC4-6F175D3DCCD1}">
              <a14:hiddenFill xmlns:a14="http://schemas.microsoft.com/office/drawing/2010/main">
                <a:solidFill>
                  <a:srgbClr val="FFFFFF"/>
                </a:solidFill>
              </a14:hiddenFill>
            </a:ext>
          </a:extLst>
        </p:spPr>
      </p:pic>
      <p:sp>
        <p:nvSpPr>
          <p:cNvPr id="3" name="Date Placeholder 2">
            <a:extLst>
              <a:ext uri="{FF2B5EF4-FFF2-40B4-BE49-F238E27FC236}">
                <a16:creationId xmlns:a16="http://schemas.microsoft.com/office/drawing/2014/main" id="{071A0737-35A5-5020-A1D0-978034B0EC0A}"/>
              </a:ext>
            </a:extLst>
          </p:cNvPr>
          <p:cNvSpPr>
            <a:spLocks noGrp="1"/>
          </p:cNvSpPr>
          <p:nvPr>
            <p:ph type="dt" sz="half" idx="10"/>
          </p:nvPr>
        </p:nvSpPr>
        <p:spPr>
          <a:xfrm>
            <a:off x="8991600" y="6455664"/>
            <a:ext cx="2743200" cy="365125"/>
          </a:xfrm>
        </p:spPr>
        <p:txBody>
          <a:bodyPr vert="horz" lIns="91440" tIns="45720" rIns="91440" bIns="45720" rtlCol="0" anchor="ctr">
            <a:normAutofit/>
          </a:bodyPr>
          <a:lstStyle/>
          <a:p>
            <a:pPr algn="r">
              <a:spcAft>
                <a:spcPts val="600"/>
              </a:spcAft>
            </a:pPr>
            <a:fld id="{D5DBB04E-78FF-D64C-BE9F-DEB5F74E39FC}" type="datetime1">
              <a:rPr lang="en-US" sz="1100">
                <a:solidFill>
                  <a:srgbClr val="FFFFFF"/>
                </a:solidFill>
              </a:rPr>
              <a:pPr algn="r">
                <a:spcAft>
                  <a:spcPts val="600"/>
                </a:spcAft>
              </a:pPr>
              <a:t>9/18/24</a:t>
            </a:fld>
            <a:endParaRPr lang="en-US" sz="1100">
              <a:solidFill>
                <a:srgbClr val="FFFFFF"/>
              </a:solidFill>
            </a:endParaRPr>
          </a:p>
        </p:txBody>
      </p:sp>
      <p:sp>
        <p:nvSpPr>
          <p:cNvPr id="5" name="Slide Number Placeholder 4">
            <a:extLst>
              <a:ext uri="{FF2B5EF4-FFF2-40B4-BE49-F238E27FC236}">
                <a16:creationId xmlns:a16="http://schemas.microsoft.com/office/drawing/2014/main" id="{F4D0757A-BF26-B66E-865C-28F6A74992EB}"/>
              </a:ext>
            </a:extLst>
          </p:cNvPr>
          <p:cNvSpPr>
            <a:spLocks noGrp="1"/>
          </p:cNvSpPr>
          <p:nvPr>
            <p:ph type="sldNum" sz="quarter" idx="12"/>
          </p:nvPr>
        </p:nvSpPr>
        <p:spPr>
          <a:xfrm>
            <a:off x="11704320" y="6455664"/>
            <a:ext cx="448056" cy="365125"/>
          </a:xfrm>
        </p:spPr>
        <p:txBody>
          <a:bodyPr vert="horz" lIns="91440" tIns="45720" rIns="91440" bIns="45720" rtlCol="0" anchor="ctr">
            <a:normAutofit/>
          </a:bodyPr>
          <a:lstStyle/>
          <a:p>
            <a:pPr>
              <a:spcAft>
                <a:spcPts val="600"/>
              </a:spcAft>
            </a:pPr>
            <a:fld id="{864F6FD7-2FFA-4E2A-8671-45222C163BF2}" type="slidenum">
              <a:rPr lang="en-US" sz="1100">
                <a:solidFill>
                  <a:srgbClr val="FFFFFF"/>
                </a:solidFill>
              </a:rPr>
              <a:pPr>
                <a:spcAft>
                  <a:spcPts val="600"/>
                </a:spcAft>
              </a:pPr>
              <a:t>10</a:t>
            </a:fld>
            <a:endParaRPr lang="en-US" sz="1100">
              <a:solidFill>
                <a:srgbClr val="FFFFFF"/>
              </a:solidFill>
            </a:endParaRPr>
          </a:p>
        </p:txBody>
      </p:sp>
      <p:sp>
        <p:nvSpPr>
          <p:cNvPr id="2" name="Title 1">
            <a:extLst>
              <a:ext uri="{FF2B5EF4-FFF2-40B4-BE49-F238E27FC236}">
                <a16:creationId xmlns:a16="http://schemas.microsoft.com/office/drawing/2014/main" id="{C1FFF972-C48C-DBA4-B002-76467986FA70}"/>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4086524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761509-3B9A-49A6-A84B-C3D8681169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99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413D1309-519D-5DEB-0E5A-19A98C4D6417}"/>
              </a:ext>
            </a:extLst>
          </p:cNvPr>
          <p:cNvSpPr>
            <a:spLocks noGrp="1"/>
          </p:cNvSpPr>
          <p:nvPr>
            <p:ph type="ftr" sz="quarter" idx="11"/>
          </p:nvPr>
        </p:nvSpPr>
        <p:spPr>
          <a:xfrm>
            <a:off x="8516202" y="385179"/>
            <a:ext cx="3238001" cy="365125"/>
          </a:xfrm>
        </p:spPr>
        <p:txBody>
          <a:bodyPr vert="horz" lIns="91440" tIns="45720" rIns="91440" bIns="45720" rtlCol="0" anchor="ctr">
            <a:normAutofit/>
          </a:bodyPr>
          <a:lstStyle/>
          <a:p>
            <a:pPr algn="r"/>
            <a:endParaRPr lang="en-US" sz="1100" kern="1200">
              <a:solidFill>
                <a:schemeClr val="bg1">
                  <a:alpha val="80000"/>
                </a:schemeClr>
              </a:solidFill>
              <a:latin typeface="+mn-lt"/>
              <a:ea typeface="+mn-ea"/>
              <a:cs typeface="+mn-cs"/>
            </a:endParaRPr>
          </a:p>
        </p:txBody>
      </p:sp>
      <p:sp useBgFill="1">
        <p:nvSpPr>
          <p:cNvPr id="14" name="Freeform: Shape 13">
            <a:extLst>
              <a:ext uri="{FF2B5EF4-FFF2-40B4-BE49-F238E27FC236}">
                <a16:creationId xmlns:a16="http://schemas.microsoft.com/office/drawing/2014/main" id="{91DE43FD-EB47-414A-B0AB-169B0FFFA5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272922" cy="6858000"/>
          </a:xfrm>
          <a:custGeom>
            <a:avLst/>
            <a:gdLst>
              <a:gd name="connsiteX0" fmla="*/ 0 w 9272922"/>
              <a:gd name="connsiteY0" fmla="*/ 0 h 6858000"/>
              <a:gd name="connsiteX1" fmla="*/ 1733417 w 9272922"/>
              <a:gd name="connsiteY1" fmla="*/ 0 h 6858000"/>
              <a:gd name="connsiteX2" fmla="*/ 3307976 w 9272922"/>
              <a:gd name="connsiteY2" fmla="*/ 0 h 6858000"/>
              <a:gd name="connsiteX3" fmla="*/ 8126249 w 9272922"/>
              <a:gd name="connsiteY3" fmla="*/ 0 h 6858000"/>
              <a:gd name="connsiteX4" fmla="*/ 8138896 w 9272922"/>
              <a:gd name="connsiteY4" fmla="*/ 31774 h 6858000"/>
              <a:gd name="connsiteX5" fmla="*/ 9193904 w 9272922"/>
              <a:gd name="connsiteY5" fmla="*/ 2682457 h 6858000"/>
              <a:gd name="connsiteX6" fmla="*/ 9193904 w 9272922"/>
              <a:gd name="connsiteY6" fmla="*/ 3752208 h 6858000"/>
              <a:gd name="connsiteX7" fmla="*/ 8036400 w 9272922"/>
              <a:gd name="connsiteY7" fmla="*/ 6660411 h 6858000"/>
              <a:gd name="connsiteX8" fmla="*/ 7957938 w 9272922"/>
              <a:gd name="connsiteY8" fmla="*/ 6857542 h 6858000"/>
              <a:gd name="connsiteX9" fmla="*/ 3307976 w 9272922"/>
              <a:gd name="connsiteY9" fmla="*/ 6857542 h 6858000"/>
              <a:gd name="connsiteX10" fmla="*/ 3307976 w 9272922"/>
              <a:gd name="connsiteY10" fmla="*/ 6858000 h 6858000"/>
              <a:gd name="connsiteX11" fmla="*/ 0 w 9272922"/>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72922" h="6858000">
                <a:moveTo>
                  <a:pt x="0" y="0"/>
                </a:moveTo>
                <a:lnTo>
                  <a:pt x="1733417" y="0"/>
                </a:lnTo>
                <a:lnTo>
                  <a:pt x="3307976" y="0"/>
                </a:lnTo>
                <a:lnTo>
                  <a:pt x="8126249" y="0"/>
                </a:lnTo>
                <a:lnTo>
                  <a:pt x="8138896" y="31774"/>
                </a:lnTo>
                <a:cubicBezTo>
                  <a:pt x="9193904" y="2682457"/>
                  <a:pt x="9193904" y="2682457"/>
                  <a:pt x="9193904" y="2682457"/>
                </a:cubicBezTo>
                <a:cubicBezTo>
                  <a:pt x="9299262" y="2988100"/>
                  <a:pt x="9299262" y="3446565"/>
                  <a:pt x="9193904" y="3752208"/>
                </a:cubicBezTo>
                <a:cubicBezTo>
                  <a:pt x="8709916" y="4968215"/>
                  <a:pt x="8331802" y="5918220"/>
                  <a:pt x="8036400" y="6660411"/>
                </a:cubicBezTo>
                <a:lnTo>
                  <a:pt x="7957938" y="6857542"/>
                </a:lnTo>
                <a:lnTo>
                  <a:pt x="3307976" y="6857542"/>
                </a:lnTo>
                <a:lnTo>
                  <a:pt x="3307976" y="6858000"/>
                </a:ln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Picture 6" descr="A screenshot of a social media post&#10;&#10;Description automatically generated">
            <a:extLst>
              <a:ext uri="{FF2B5EF4-FFF2-40B4-BE49-F238E27FC236}">
                <a16:creationId xmlns:a16="http://schemas.microsoft.com/office/drawing/2014/main" id="{41390A0A-D1D4-1D96-C0F7-86E650DF1F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4742" y="643466"/>
            <a:ext cx="6185372" cy="5566833"/>
          </a:xfrm>
          <a:prstGeom prst="rect">
            <a:avLst/>
          </a:prstGeom>
        </p:spPr>
      </p:pic>
      <p:grpSp>
        <p:nvGrpSpPr>
          <p:cNvPr id="16" name="Group 15">
            <a:extLst>
              <a:ext uri="{FF2B5EF4-FFF2-40B4-BE49-F238E27FC236}">
                <a16:creationId xmlns:a16="http://schemas.microsoft.com/office/drawing/2014/main" id="{58495BCC-CE77-4CC2-952E-846F41119FD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160561" y="1075188"/>
            <a:ext cx="1562267" cy="1172973"/>
            <a:chOff x="9160561" y="1075188"/>
            <a:chExt cx="1562267" cy="1172973"/>
          </a:xfrm>
        </p:grpSpPr>
        <p:sp>
          <p:nvSpPr>
            <p:cNvPr id="17" name="Freeform 5">
              <a:extLst>
                <a:ext uri="{FF2B5EF4-FFF2-40B4-BE49-F238E27FC236}">
                  <a16:creationId xmlns:a16="http://schemas.microsoft.com/office/drawing/2014/main" id="{1B42538B-E30F-4967-A6C1-8EBA775F4D6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160561" y="1423846"/>
              <a:ext cx="935037" cy="8243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8" name="Freeform 5">
              <a:extLst>
                <a:ext uri="{FF2B5EF4-FFF2-40B4-BE49-F238E27FC236}">
                  <a16:creationId xmlns:a16="http://schemas.microsoft.com/office/drawing/2014/main" id="{9A6BD9AC-4DE7-4B20-8547-4E3B375C21F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960661" y="1075188"/>
              <a:ext cx="762167" cy="6719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502922F8-9C3D-5BA7-487E-6EAE1304F5C3}"/>
              </a:ext>
            </a:extLst>
          </p:cNvPr>
          <p:cNvSpPr>
            <a:spLocks noGrp="1"/>
          </p:cNvSpPr>
          <p:nvPr>
            <p:ph type="dt" sz="half" idx="10"/>
          </p:nvPr>
        </p:nvSpPr>
        <p:spPr>
          <a:xfrm>
            <a:off x="9580287" y="5519016"/>
            <a:ext cx="2173918" cy="365125"/>
          </a:xfrm>
        </p:spPr>
        <p:txBody>
          <a:bodyPr vert="horz" lIns="91440" tIns="45720" rIns="91440" bIns="45720" rtlCol="0" anchor="ctr">
            <a:normAutofit/>
          </a:bodyPr>
          <a:lstStyle/>
          <a:p>
            <a:pPr algn="r">
              <a:spcAft>
                <a:spcPts val="600"/>
              </a:spcAft>
            </a:pPr>
            <a:fld id="{F54BAFF8-2FD4-804C-8188-644DD83DD988}" type="datetime1">
              <a:rPr lang="en-US" sz="1100">
                <a:solidFill>
                  <a:schemeClr val="bg1">
                    <a:alpha val="80000"/>
                  </a:schemeClr>
                </a:solidFill>
              </a:rPr>
              <a:pPr algn="r">
                <a:spcAft>
                  <a:spcPts val="600"/>
                </a:spcAft>
              </a:pPr>
              <a:t>9/18/24</a:t>
            </a:fld>
            <a:endParaRPr lang="en-US" sz="1100">
              <a:solidFill>
                <a:schemeClr val="bg1">
                  <a:alpha val="80000"/>
                </a:schemeClr>
              </a:solidFill>
            </a:endParaRPr>
          </a:p>
        </p:txBody>
      </p:sp>
      <p:sp>
        <p:nvSpPr>
          <p:cNvPr id="5" name="Slide Number Placeholder 4">
            <a:extLst>
              <a:ext uri="{FF2B5EF4-FFF2-40B4-BE49-F238E27FC236}">
                <a16:creationId xmlns:a16="http://schemas.microsoft.com/office/drawing/2014/main" id="{4D421E4A-682F-AAEB-525C-DA35CCB9EBFD}"/>
              </a:ext>
            </a:extLst>
          </p:cNvPr>
          <p:cNvSpPr>
            <a:spLocks noGrp="1"/>
          </p:cNvSpPr>
          <p:nvPr>
            <p:ph type="sldNum" sz="quarter" idx="12"/>
          </p:nvPr>
        </p:nvSpPr>
        <p:spPr>
          <a:xfrm>
            <a:off x="11146536" y="6035040"/>
            <a:ext cx="548640" cy="548640"/>
          </a:xfrm>
          <a:prstGeom prst="ellipse">
            <a:avLst/>
          </a:prstGeom>
          <a:solidFill>
            <a:schemeClr val="bg1">
              <a:alpha val="80000"/>
            </a:schemeClr>
          </a:solidFill>
        </p:spPr>
        <p:txBody>
          <a:bodyPr vert="horz" lIns="91440" tIns="45720" rIns="91440" bIns="45720" rtlCol="0" anchor="ctr">
            <a:normAutofit/>
          </a:bodyPr>
          <a:lstStyle/>
          <a:p>
            <a:pPr algn="ctr">
              <a:spcAft>
                <a:spcPts val="600"/>
              </a:spcAft>
            </a:pPr>
            <a:fld id="{864F6FD7-2FFA-4E2A-8671-45222C163BF2}" type="slidenum">
              <a:rPr lang="en-US" sz="1200">
                <a:solidFill>
                  <a:schemeClr val="tx1"/>
                </a:solidFill>
              </a:rPr>
              <a:pPr algn="ctr">
                <a:spcAft>
                  <a:spcPts val="600"/>
                </a:spcAft>
              </a:pPr>
              <a:t>11</a:t>
            </a:fld>
            <a:endParaRPr lang="en-US" sz="1200">
              <a:solidFill>
                <a:schemeClr val="tx1"/>
              </a:solidFill>
            </a:endParaRPr>
          </a:p>
        </p:txBody>
      </p:sp>
      <p:sp>
        <p:nvSpPr>
          <p:cNvPr id="2" name="Title 1">
            <a:extLst>
              <a:ext uri="{FF2B5EF4-FFF2-40B4-BE49-F238E27FC236}">
                <a16:creationId xmlns:a16="http://schemas.microsoft.com/office/drawing/2014/main" id="{1A4AB896-9F5C-E469-5ABD-461A2C996500}"/>
              </a:ext>
            </a:extLst>
          </p:cNvPr>
          <p:cNvSpPr>
            <a:spLocks noGrp="1"/>
          </p:cNvSpPr>
          <p:nvPr>
            <p:ph type="title"/>
          </p:nvPr>
        </p:nvSpPr>
        <p:spPr/>
        <p:txBody>
          <a:bodyPr/>
          <a:lstStyle/>
          <a:p>
            <a:r>
              <a:rPr lang="en-US" dirty="0"/>
              <a:t>Let’s do some search!</a:t>
            </a:r>
          </a:p>
        </p:txBody>
      </p:sp>
    </p:spTree>
    <p:extLst>
      <p:ext uri="{BB962C8B-B14F-4D97-AF65-F5344CB8AC3E}">
        <p14:creationId xmlns:p14="http://schemas.microsoft.com/office/powerpoint/2010/main" val="2320312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5500D2E7-158C-9FAB-49D0-4A95706BB340}"/>
              </a:ext>
            </a:extLst>
          </p:cNvPr>
          <p:cNvSpPr>
            <a:spLocks noGrp="1"/>
          </p:cNvSpPr>
          <p:nvPr>
            <p:ph type="ftr" sz="quarter" idx="11"/>
          </p:nvPr>
        </p:nvSpPr>
        <p:spPr>
          <a:xfrm rot="5400000">
            <a:off x="-1828800" y="2002536"/>
            <a:ext cx="4114800" cy="365125"/>
          </a:xfrm>
        </p:spPr>
        <p:txBody>
          <a:bodyPr vert="horz" lIns="91440" tIns="45720" rIns="91440" bIns="45720" rtlCol="0" anchor="ctr">
            <a:normAutofit/>
          </a:bodyPr>
          <a:lstStyle/>
          <a:p>
            <a:pPr algn="l"/>
            <a:endParaRPr lang="en-US" sz="1100" kern="1200">
              <a:solidFill>
                <a:srgbClr val="FFFFFF"/>
              </a:solidFill>
              <a:latin typeface="+mn-lt"/>
              <a:ea typeface="+mn-ea"/>
              <a:cs typeface="+mn-cs"/>
            </a:endParaRPr>
          </a:p>
        </p:txBody>
      </p:sp>
      <p:pic>
        <p:nvPicPr>
          <p:cNvPr id="7" name="Picture 6" descr="A screenshot of a white text&#10;&#10;Description automatically generated">
            <a:extLst>
              <a:ext uri="{FF2B5EF4-FFF2-40B4-BE49-F238E27FC236}">
                <a16:creationId xmlns:a16="http://schemas.microsoft.com/office/drawing/2014/main" id="{EA8C0C3B-D4DA-4A7E-BB3F-390D335B6D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3702" y="457200"/>
            <a:ext cx="4784596" cy="5943600"/>
          </a:xfrm>
          <a:prstGeom prst="rect">
            <a:avLst/>
          </a:prstGeom>
        </p:spPr>
      </p:pic>
      <p:sp>
        <p:nvSpPr>
          <p:cNvPr id="3" name="Date Placeholder 2">
            <a:extLst>
              <a:ext uri="{FF2B5EF4-FFF2-40B4-BE49-F238E27FC236}">
                <a16:creationId xmlns:a16="http://schemas.microsoft.com/office/drawing/2014/main" id="{0D5DAFE9-056C-FD82-F663-7DA89A7A5803}"/>
              </a:ext>
            </a:extLst>
          </p:cNvPr>
          <p:cNvSpPr>
            <a:spLocks noGrp="1"/>
          </p:cNvSpPr>
          <p:nvPr>
            <p:ph type="dt" sz="half" idx="10"/>
          </p:nvPr>
        </p:nvSpPr>
        <p:spPr>
          <a:xfrm>
            <a:off x="8991600" y="6455664"/>
            <a:ext cx="2743200" cy="365125"/>
          </a:xfrm>
        </p:spPr>
        <p:txBody>
          <a:bodyPr vert="horz" lIns="91440" tIns="45720" rIns="91440" bIns="45720" rtlCol="0" anchor="ctr">
            <a:normAutofit/>
          </a:bodyPr>
          <a:lstStyle/>
          <a:p>
            <a:pPr algn="r">
              <a:spcAft>
                <a:spcPts val="600"/>
              </a:spcAft>
            </a:pPr>
            <a:fld id="{960EC98E-6BDD-E048-A630-20B0C8B1C3C5}" type="datetime1">
              <a:rPr lang="en-US" sz="1100">
                <a:solidFill>
                  <a:srgbClr val="FFFFFF"/>
                </a:solidFill>
              </a:rPr>
              <a:pPr algn="r">
                <a:spcAft>
                  <a:spcPts val="600"/>
                </a:spcAft>
              </a:pPr>
              <a:t>9/18/24</a:t>
            </a:fld>
            <a:endParaRPr lang="en-US" sz="1100">
              <a:solidFill>
                <a:srgbClr val="FFFFFF"/>
              </a:solidFill>
            </a:endParaRPr>
          </a:p>
        </p:txBody>
      </p:sp>
      <p:sp>
        <p:nvSpPr>
          <p:cNvPr id="5" name="Slide Number Placeholder 4">
            <a:extLst>
              <a:ext uri="{FF2B5EF4-FFF2-40B4-BE49-F238E27FC236}">
                <a16:creationId xmlns:a16="http://schemas.microsoft.com/office/drawing/2014/main" id="{C2DE73C6-3446-480B-0932-0616126B0D86}"/>
              </a:ext>
            </a:extLst>
          </p:cNvPr>
          <p:cNvSpPr>
            <a:spLocks noGrp="1"/>
          </p:cNvSpPr>
          <p:nvPr>
            <p:ph type="sldNum" sz="quarter" idx="12"/>
          </p:nvPr>
        </p:nvSpPr>
        <p:spPr>
          <a:xfrm>
            <a:off x="11704320" y="6455664"/>
            <a:ext cx="448056" cy="365125"/>
          </a:xfrm>
        </p:spPr>
        <p:txBody>
          <a:bodyPr vert="horz" lIns="91440" tIns="45720" rIns="91440" bIns="45720" rtlCol="0" anchor="ctr">
            <a:normAutofit/>
          </a:bodyPr>
          <a:lstStyle/>
          <a:p>
            <a:pPr>
              <a:spcAft>
                <a:spcPts val="600"/>
              </a:spcAft>
            </a:pPr>
            <a:fld id="{864F6FD7-2FFA-4E2A-8671-45222C163BF2}" type="slidenum">
              <a:rPr lang="en-US" sz="1100">
                <a:solidFill>
                  <a:srgbClr val="FFFFFF"/>
                </a:solidFill>
              </a:rPr>
              <a:pPr>
                <a:spcAft>
                  <a:spcPts val="600"/>
                </a:spcAft>
              </a:pPr>
              <a:t>12</a:t>
            </a:fld>
            <a:endParaRPr lang="en-US" sz="1100">
              <a:solidFill>
                <a:srgbClr val="FFFFFF"/>
              </a:solidFill>
            </a:endParaRPr>
          </a:p>
        </p:txBody>
      </p:sp>
      <p:sp>
        <p:nvSpPr>
          <p:cNvPr id="2" name="Title 1">
            <a:extLst>
              <a:ext uri="{FF2B5EF4-FFF2-40B4-BE49-F238E27FC236}">
                <a16:creationId xmlns:a16="http://schemas.microsoft.com/office/drawing/2014/main" id="{B6396AC9-8EB0-2050-2C7A-9B78CF13846A}"/>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41815634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761509-3B9A-49A6-A84B-C3D8681169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99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6211021E-83C0-D82C-7B35-36C3DD146E38}"/>
              </a:ext>
            </a:extLst>
          </p:cNvPr>
          <p:cNvSpPr>
            <a:spLocks noGrp="1"/>
          </p:cNvSpPr>
          <p:nvPr>
            <p:ph type="ftr" sz="quarter" idx="11"/>
          </p:nvPr>
        </p:nvSpPr>
        <p:spPr>
          <a:xfrm>
            <a:off x="8516202" y="385179"/>
            <a:ext cx="3238001" cy="365125"/>
          </a:xfrm>
        </p:spPr>
        <p:txBody>
          <a:bodyPr vert="horz" lIns="91440" tIns="45720" rIns="91440" bIns="45720" rtlCol="0" anchor="ctr">
            <a:noAutofit/>
          </a:bodyPr>
          <a:lstStyle/>
          <a:p>
            <a:pPr algn="r"/>
            <a:r>
              <a:rPr lang="en-US" sz="2000" kern="1200" dirty="0">
                <a:solidFill>
                  <a:schemeClr val="bg2">
                    <a:alpha val="80000"/>
                  </a:schemeClr>
                </a:solidFill>
                <a:latin typeface="+mn-lt"/>
                <a:ea typeface="+mn-ea"/>
                <a:cs typeface="+mn-cs"/>
              </a:rPr>
              <a:t>5000 likes in one day</a:t>
            </a:r>
          </a:p>
        </p:txBody>
      </p:sp>
      <p:sp useBgFill="1">
        <p:nvSpPr>
          <p:cNvPr id="14" name="Freeform: Shape 13">
            <a:extLst>
              <a:ext uri="{FF2B5EF4-FFF2-40B4-BE49-F238E27FC236}">
                <a16:creationId xmlns:a16="http://schemas.microsoft.com/office/drawing/2014/main" id="{91DE43FD-EB47-414A-B0AB-169B0FFFA5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272922" cy="6858000"/>
          </a:xfrm>
          <a:custGeom>
            <a:avLst/>
            <a:gdLst>
              <a:gd name="connsiteX0" fmla="*/ 0 w 9272922"/>
              <a:gd name="connsiteY0" fmla="*/ 0 h 6858000"/>
              <a:gd name="connsiteX1" fmla="*/ 1733417 w 9272922"/>
              <a:gd name="connsiteY1" fmla="*/ 0 h 6858000"/>
              <a:gd name="connsiteX2" fmla="*/ 3307976 w 9272922"/>
              <a:gd name="connsiteY2" fmla="*/ 0 h 6858000"/>
              <a:gd name="connsiteX3" fmla="*/ 8126249 w 9272922"/>
              <a:gd name="connsiteY3" fmla="*/ 0 h 6858000"/>
              <a:gd name="connsiteX4" fmla="*/ 8138896 w 9272922"/>
              <a:gd name="connsiteY4" fmla="*/ 31774 h 6858000"/>
              <a:gd name="connsiteX5" fmla="*/ 9193904 w 9272922"/>
              <a:gd name="connsiteY5" fmla="*/ 2682457 h 6858000"/>
              <a:gd name="connsiteX6" fmla="*/ 9193904 w 9272922"/>
              <a:gd name="connsiteY6" fmla="*/ 3752208 h 6858000"/>
              <a:gd name="connsiteX7" fmla="*/ 8036400 w 9272922"/>
              <a:gd name="connsiteY7" fmla="*/ 6660411 h 6858000"/>
              <a:gd name="connsiteX8" fmla="*/ 7957938 w 9272922"/>
              <a:gd name="connsiteY8" fmla="*/ 6857542 h 6858000"/>
              <a:gd name="connsiteX9" fmla="*/ 3307976 w 9272922"/>
              <a:gd name="connsiteY9" fmla="*/ 6857542 h 6858000"/>
              <a:gd name="connsiteX10" fmla="*/ 3307976 w 9272922"/>
              <a:gd name="connsiteY10" fmla="*/ 6858000 h 6858000"/>
              <a:gd name="connsiteX11" fmla="*/ 0 w 9272922"/>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72922" h="6858000">
                <a:moveTo>
                  <a:pt x="0" y="0"/>
                </a:moveTo>
                <a:lnTo>
                  <a:pt x="1733417" y="0"/>
                </a:lnTo>
                <a:lnTo>
                  <a:pt x="3307976" y="0"/>
                </a:lnTo>
                <a:lnTo>
                  <a:pt x="8126249" y="0"/>
                </a:lnTo>
                <a:lnTo>
                  <a:pt x="8138896" y="31774"/>
                </a:lnTo>
                <a:cubicBezTo>
                  <a:pt x="9193904" y="2682457"/>
                  <a:pt x="9193904" y="2682457"/>
                  <a:pt x="9193904" y="2682457"/>
                </a:cubicBezTo>
                <a:cubicBezTo>
                  <a:pt x="9299262" y="2988100"/>
                  <a:pt x="9299262" y="3446565"/>
                  <a:pt x="9193904" y="3752208"/>
                </a:cubicBezTo>
                <a:cubicBezTo>
                  <a:pt x="8709916" y="4968215"/>
                  <a:pt x="8331802" y="5918220"/>
                  <a:pt x="8036400" y="6660411"/>
                </a:cubicBezTo>
                <a:lnTo>
                  <a:pt x="7957938" y="6857542"/>
                </a:lnTo>
                <a:lnTo>
                  <a:pt x="3307976" y="6857542"/>
                </a:lnTo>
                <a:lnTo>
                  <a:pt x="3307976" y="6858000"/>
                </a:ln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Picture 6" descr="A screenshot of a chat&#10;&#10;Description automatically generated">
            <a:extLst>
              <a:ext uri="{FF2B5EF4-FFF2-40B4-BE49-F238E27FC236}">
                <a16:creationId xmlns:a16="http://schemas.microsoft.com/office/drawing/2014/main" id="{05C297CD-6DF6-2EEF-9C28-B5B53A58A5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6779" y="643466"/>
            <a:ext cx="4481299" cy="5566833"/>
          </a:xfrm>
          <a:prstGeom prst="rect">
            <a:avLst/>
          </a:prstGeom>
        </p:spPr>
      </p:pic>
      <p:grpSp>
        <p:nvGrpSpPr>
          <p:cNvPr id="16" name="Group 15">
            <a:extLst>
              <a:ext uri="{FF2B5EF4-FFF2-40B4-BE49-F238E27FC236}">
                <a16:creationId xmlns:a16="http://schemas.microsoft.com/office/drawing/2014/main" id="{58495BCC-CE77-4CC2-952E-846F41119FD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160561" y="1075188"/>
            <a:ext cx="1562267" cy="1172973"/>
            <a:chOff x="9160561" y="1075188"/>
            <a:chExt cx="1562267" cy="1172973"/>
          </a:xfrm>
        </p:grpSpPr>
        <p:sp>
          <p:nvSpPr>
            <p:cNvPr id="17" name="Freeform 5">
              <a:extLst>
                <a:ext uri="{FF2B5EF4-FFF2-40B4-BE49-F238E27FC236}">
                  <a16:creationId xmlns:a16="http://schemas.microsoft.com/office/drawing/2014/main" id="{1B42538B-E30F-4967-A6C1-8EBA775F4D6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160561" y="1423846"/>
              <a:ext cx="935037" cy="8243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8" name="Freeform 5">
              <a:extLst>
                <a:ext uri="{FF2B5EF4-FFF2-40B4-BE49-F238E27FC236}">
                  <a16:creationId xmlns:a16="http://schemas.microsoft.com/office/drawing/2014/main" id="{9A6BD9AC-4DE7-4B20-8547-4E3B375C21F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960661" y="1075188"/>
              <a:ext cx="762167" cy="6719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9365F386-F4C2-B724-2FF8-CBA6A637F019}"/>
              </a:ext>
            </a:extLst>
          </p:cNvPr>
          <p:cNvSpPr>
            <a:spLocks noGrp="1"/>
          </p:cNvSpPr>
          <p:nvPr>
            <p:ph type="dt" sz="half" idx="10"/>
          </p:nvPr>
        </p:nvSpPr>
        <p:spPr>
          <a:xfrm>
            <a:off x="9580287" y="5519016"/>
            <a:ext cx="2173918" cy="365125"/>
          </a:xfrm>
        </p:spPr>
        <p:txBody>
          <a:bodyPr vert="horz" lIns="91440" tIns="45720" rIns="91440" bIns="45720" rtlCol="0" anchor="ctr">
            <a:normAutofit/>
          </a:bodyPr>
          <a:lstStyle/>
          <a:p>
            <a:pPr algn="r">
              <a:spcAft>
                <a:spcPts val="600"/>
              </a:spcAft>
            </a:pPr>
            <a:fld id="{E4E2E3EF-1529-AF49-91F4-56977F420EB9}" type="datetime1">
              <a:rPr lang="en-US" sz="1100">
                <a:solidFill>
                  <a:schemeClr val="bg1">
                    <a:alpha val="80000"/>
                  </a:schemeClr>
                </a:solidFill>
              </a:rPr>
              <a:pPr algn="r">
                <a:spcAft>
                  <a:spcPts val="600"/>
                </a:spcAft>
              </a:pPr>
              <a:t>9/18/24</a:t>
            </a:fld>
            <a:endParaRPr lang="en-US" sz="1100">
              <a:solidFill>
                <a:schemeClr val="bg1">
                  <a:alpha val="80000"/>
                </a:schemeClr>
              </a:solidFill>
            </a:endParaRPr>
          </a:p>
        </p:txBody>
      </p:sp>
      <p:sp>
        <p:nvSpPr>
          <p:cNvPr id="5" name="Slide Number Placeholder 4">
            <a:extLst>
              <a:ext uri="{FF2B5EF4-FFF2-40B4-BE49-F238E27FC236}">
                <a16:creationId xmlns:a16="http://schemas.microsoft.com/office/drawing/2014/main" id="{D45C2698-0E3A-4EB6-57EE-2EFE64B6F301}"/>
              </a:ext>
            </a:extLst>
          </p:cNvPr>
          <p:cNvSpPr>
            <a:spLocks noGrp="1"/>
          </p:cNvSpPr>
          <p:nvPr>
            <p:ph type="sldNum" sz="quarter" idx="12"/>
          </p:nvPr>
        </p:nvSpPr>
        <p:spPr>
          <a:xfrm>
            <a:off x="11146536" y="6035040"/>
            <a:ext cx="548640" cy="548640"/>
          </a:xfrm>
          <a:prstGeom prst="ellipse">
            <a:avLst/>
          </a:prstGeom>
          <a:solidFill>
            <a:schemeClr val="bg1">
              <a:alpha val="80000"/>
            </a:schemeClr>
          </a:solidFill>
        </p:spPr>
        <p:txBody>
          <a:bodyPr vert="horz" lIns="91440" tIns="45720" rIns="91440" bIns="45720" rtlCol="0" anchor="ctr">
            <a:normAutofit/>
          </a:bodyPr>
          <a:lstStyle/>
          <a:p>
            <a:pPr algn="ctr">
              <a:spcAft>
                <a:spcPts val="600"/>
              </a:spcAft>
            </a:pPr>
            <a:fld id="{864F6FD7-2FFA-4E2A-8671-45222C163BF2}" type="slidenum">
              <a:rPr lang="en-US" sz="1200">
                <a:solidFill>
                  <a:schemeClr val="tx1"/>
                </a:solidFill>
              </a:rPr>
              <a:pPr algn="ctr">
                <a:spcAft>
                  <a:spcPts val="600"/>
                </a:spcAft>
              </a:pPr>
              <a:t>13</a:t>
            </a:fld>
            <a:endParaRPr lang="en-US" sz="1200">
              <a:solidFill>
                <a:schemeClr val="tx1"/>
              </a:solidFill>
            </a:endParaRPr>
          </a:p>
        </p:txBody>
      </p:sp>
      <p:sp>
        <p:nvSpPr>
          <p:cNvPr id="2" name="Title 1">
            <a:extLst>
              <a:ext uri="{FF2B5EF4-FFF2-40B4-BE49-F238E27FC236}">
                <a16:creationId xmlns:a16="http://schemas.microsoft.com/office/drawing/2014/main" id="{04D449FC-E35C-98DB-CF0B-15470BCCAAFA}"/>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380032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3A57D5-255A-8746-A796-EEC60ACE3E7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1F3A57D5-255A-8746-A796-EEC60ACE3E7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26C86-C6D8-774B-8BB7-1AD95A612CFE}"/>
              </a:ext>
            </a:extLst>
          </p:cNvPr>
          <p:cNvSpPr>
            <a:spLocks noGrp="1"/>
          </p:cNvSpPr>
          <p:nvPr>
            <p:ph type="title"/>
          </p:nvPr>
        </p:nvSpPr>
        <p:spPr/>
        <p:txBody>
          <a:bodyPr vert="horz"/>
          <a:lstStyle/>
          <a:p>
            <a:r>
              <a:rPr lang="en-US" dirty="0"/>
              <a:t>Your reader or audience always wonders…</a:t>
            </a:r>
          </a:p>
        </p:txBody>
      </p:sp>
      <p:sp>
        <p:nvSpPr>
          <p:cNvPr id="3" name="Content Placeholder 2">
            <a:extLst>
              <a:ext uri="{FF2B5EF4-FFF2-40B4-BE49-F238E27FC236}">
                <a16:creationId xmlns:a16="http://schemas.microsoft.com/office/drawing/2014/main" id="{D00008DF-1574-9243-9DCF-C906FBBB5145}"/>
              </a:ext>
            </a:extLst>
          </p:cNvPr>
          <p:cNvSpPr>
            <a:spLocks noGrp="1"/>
          </p:cNvSpPr>
          <p:nvPr>
            <p:ph idx="1"/>
          </p:nvPr>
        </p:nvSpPr>
        <p:spPr>
          <a:xfrm>
            <a:off x="6826597" y="3429000"/>
            <a:ext cx="5086612" cy="1907088"/>
          </a:xfrm>
        </p:spPr>
        <p:txBody>
          <a:bodyPr>
            <a:noAutofit/>
          </a:bodyPr>
          <a:lstStyle/>
          <a:p>
            <a:pPr marL="0" indent="0">
              <a:buNone/>
            </a:pPr>
            <a:r>
              <a:rPr lang="en-US" sz="4000" b="1" dirty="0">
                <a:solidFill>
                  <a:srgbClr val="FF0000"/>
                </a:solidFill>
              </a:rPr>
              <a:t>W</a:t>
            </a:r>
            <a:r>
              <a:rPr lang="en-US" sz="4000" dirty="0"/>
              <a:t>hat’s </a:t>
            </a:r>
            <a:r>
              <a:rPr lang="en-US" sz="4000" b="1" dirty="0">
                <a:solidFill>
                  <a:srgbClr val="FF0000"/>
                </a:solidFill>
              </a:rPr>
              <a:t>I</a:t>
            </a:r>
            <a:r>
              <a:rPr lang="en-US" sz="4000" dirty="0"/>
              <a:t>n </a:t>
            </a:r>
            <a:r>
              <a:rPr lang="en-US" sz="4000" b="1" dirty="0">
                <a:solidFill>
                  <a:srgbClr val="FF0000"/>
                </a:solidFill>
              </a:rPr>
              <a:t>I</a:t>
            </a:r>
            <a:r>
              <a:rPr lang="en-US" sz="4000" dirty="0"/>
              <a:t>t </a:t>
            </a:r>
            <a:r>
              <a:rPr lang="en-US" sz="4000" b="1" dirty="0">
                <a:solidFill>
                  <a:srgbClr val="FF0000"/>
                </a:solidFill>
              </a:rPr>
              <a:t>F</a:t>
            </a:r>
            <a:r>
              <a:rPr lang="en-US" sz="4000" dirty="0"/>
              <a:t>or </a:t>
            </a:r>
            <a:r>
              <a:rPr lang="en-US" sz="4000" b="1" dirty="0">
                <a:solidFill>
                  <a:srgbClr val="FF0000"/>
                </a:solidFill>
              </a:rPr>
              <a:t>T</a:t>
            </a:r>
            <a:r>
              <a:rPr lang="en-US" sz="4000" dirty="0"/>
              <a:t>hem?</a:t>
            </a:r>
          </a:p>
          <a:p>
            <a:pPr marL="0" indent="0">
              <a:buNone/>
            </a:pPr>
            <a:r>
              <a:rPr lang="en-US" sz="4000" dirty="0"/>
              <a:t>(</a:t>
            </a:r>
            <a:r>
              <a:rPr lang="en-US" sz="4000" dirty="0">
                <a:solidFill>
                  <a:srgbClr val="FF0000"/>
                </a:solidFill>
              </a:rPr>
              <a:t>WIIIFT</a:t>
            </a:r>
            <a:r>
              <a:rPr lang="en-US" sz="4000" dirty="0"/>
              <a:t>)</a:t>
            </a:r>
          </a:p>
        </p:txBody>
      </p:sp>
      <p:pic>
        <p:nvPicPr>
          <p:cNvPr id="35842" name="Picture 2" descr="Always ask WIFFT – What&amp;#39;s In It For Them | Brave Masters">
            <a:extLst>
              <a:ext uri="{FF2B5EF4-FFF2-40B4-BE49-F238E27FC236}">
                <a16:creationId xmlns:a16="http://schemas.microsoft.com/office/drawing/2014/main" id="{F74F564C-5E5A-8347-B57D-CE6E54A195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700" y="1703888"/>
            <a:ext cx="5321300" cy="3632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90415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E9F9-2A19-B54F-9A8E-980C27C783A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DE43E9F9-2A19-B54F-9A8E-980C27C783A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CD4B57-DCD4-6446-9E86-6A0B79D7D968}"/>
              </a:ext>
            </a:extLst>
          </p:cNvPr>
          <p:cNvSpPr>
            <a:spLocks noGrp="1"/>
          </p:cNvSpPr>
          <p:nvPr>
            <p:ph type="title"/>
          </p:nvPr>
        </p:nvSpPr>
        <p:spPr>
          <a:xfrm>
            <a:off x="838199" y="365125"/>
            <a:ext cx="10598063" cy="5760102"/>
          </a:xfrm>
        </p:spPr>
        <p:txBody>
          <a:bodyPr vert="horz">
            <a:normAutofit/>
          </a:bodyPr>
          <a:lstStyle/>
          <a:p>
            <a:r>
              <a:rPr lang="en-US" dirty="0"/>
              <a:t>And don’t forget the all-important factor:</a:t>
            </a:r>
            <a:br>
              <a:rPr lang="en-US" dirty="0"/>
            </a:br>
            <a:br>
              <a:rPr lang="en-US" dirty="0"/>
            </a:br>
            <a:r>
              <a:rPr lang="en-US" b="1" dirty="0">
                <a:solidFill>
                  <a:srgbClr val="FF0000"/>
                </a:solidFill>
              </a:rPr>
              <a:t>H</a:t>
            </a:r>
            <a:r>
              <a:rPr lang="en-US" dirty="0"/>
              <a:t>igh </a:t>
            </a:r>
            <a:br>
              <a:rPr lang="en-US" dirty="0"/>
            </a:br>
            <a:r>
              <a:rPr lang="en-US" b="1" dirty="0">
                <a:solidFill>
                  <a:srgbClr val="FF0000"/>
                </a:solidFill>
              </a:rPr>
              <a:t>S</a:t>
            </a:r>
            <a:r>
              <a:rPr lang="en-US" dirty="0"/>
              <a:t>kim</a:t>
            </a:r>
            <a:br>
              <a:rPr lang="en-US" dirty="0"/>
            </a:br>
            <a:r>
              <a:rPr lang="en-US" b="1" dirty="0">
                <a:solidFill>
                  <a:srgbClr val="FF0000"/>
                </a:solidFill>
              </a:rPr>
              <a:t>V</a:t>
            </a:r>
            <a:r>
              <a:rPr lang="en-US" dirty="0"/>
              <a:t>alue</a:t>
            </a:r>
          </a:p>
        </p:txBody>
      </p:sp>
      <p:sp>
        <p:nvSpPr>
          <p:cNvPr id="25" name="TextBox 24">
            <a:extLst>
              <a:ext uri="{FF2B5EF4-FFF2-40B4-BE49-F238E27FC236}">
                <a16:creationId xmlns:a16="http://schemas.microsoft.com/office/drawing/2014/main" id="{F28F95F9-004C-C841-9AF0-12A97C645566}"/>
              </a:ext>
            </a:extLst>
          </p:cNvPr>
          <p:cNvSpPr txBox="1"/>
          <p:nvPr/>
        </p:nvSpPr>
        <p:spPr>
          <a:xfrm>
            <a:off x="7127310" y="5940561"/>
            <a:ext cx="3523209" cy="369332"/>
          </a:xfrm>
          <a:prstGeom prst="rect">
            <a:avLst/>
          </a:prstGeom>
          <a:noFill/>
        </p:spPr>
        <p:txBody>
          <a:bodyPr wrap="none" rtlCol="0">
            <a:spAutoFit/>
          </a:bodyPr>
          <a:lstStyle/>
          <a:p>
            <a:r>
              <a:rPr lang="en-US" dirty="0"/>
              <a:t>So how do you get high skim value?</a:t>
            </a:r>
          </a:p>
        </p:txBody>
      </p:sp>
    </p:spTree>
    <p:extLst>
      <p:ext uri="{BB962C8B-B14F-4D97-AF65-F5344CB8AC3E}">
        <p14:creationId xmlns:p14="http://schemas.microsoft.com/office/powerpoint/2010/main" val="492210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A human brain filled with representations of excessive screen time. The brain's structure is intertwined with glowing screens, tablets, and phones. Each part of the brain has embedded images of apps, social media feeds, streaming services, and notifications. The glow from the screens illuminates the brain, giving off an overwhelming sense of digital overload. The background is dark, contrasting with the bright screens to emphasize the dominance of technology in the brain.">
            <a:extLst>
              <a:ext uri="{FF2B5EF4-FFF2-40B4-BE49-F238E27FC236}">
                <a16:creationId xmlns:a16="http://schemas.microsoft.com/office/drawing/2014/main" id="{EB01C258-3C43-5656-491E-D5BBC99820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2" b="17469"/>
          <a:stretch/>
        </p:blipFill>
        <p:spPr bwMode="auto">
          <a:xfrm>
            <a:off x="3882570" y="10"/>
            <a:ext cx="8309429" cy="6857990"/>
          </a:xfrm>
          <a:custGeom>
            <a:avLst/>
            <a:gdLst/>
            <a:ahLst/>
            <a:cxnLst/>
            <a:rect l="l" t="t" r="r" b="b"/>
            <a:pathLst>
              <a:path w="12192000" h="6858000">
                <a:moveTo>
                  <a:pt x="0" y="0"/>
                </a:moveTo>
                <a:lnTo>
                  <a:pt x="12192000" y="0"/>
                </a:lnTo>
                <a:lnTo>
                  <a:pt x="12192000"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grpSp>
        <p:nvGrpSpPr>
          <p:cNvPr id="1051" name="Group 1050">
            <a:extLst>
              <a:ext uri="{FF2B5EF4-FFF2-40B4-BE49-F238E27FC236}">
                <a16:creationId xmlns:a16="http://schemas.microsoft.com/office/drawing/2014/main" id="{63737881-458F-40AD-B72B-B57D267DC42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 y="-1"/>
            <a:ext cx="4581527" cy="6858002"/>
            <a:chOff x="-2" y="-1"/>
            <a:chExt cx="4581527" cy="6858002"/>
          </a:xfrm>
          <a:effectLst>
            <a:outerShdw blurRad="381000" dist="50800" algn="ctr" rotWithShape="0">
              <a:srgbClr val="000000">
                <a:alpha val="10000"/>
              </a:srgbClr>
            </a:outerShdw>
          </a:effectLst>
        </p:grpSpPr>
        <p:sp>
          <p:nvSpPr>
            <p:cNvPr id="1052" name="Freeform: Shape 1051">
              <a:extLst>
                <a:ext uri="{FF2B5EF4-FFF2-40B4-BE49-F238E27FC236}">
                  <a16:creationId xmlns:a16="http://schemas.microsoft.com/office/drawing/2014/main" id="{C2967126-346F-41EA-982D-63D8EBB60D1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 y="-1"/>
              <a:ext cx="4572002" cy="6858002"/>
            </a:xfrm>
            <a:custGeom>
              <a:avLst/>
              <a:gdLst>
                <a:gd name="connsiteX0" fmla="*/ 4214994 w 4572002"/>
                <a:gd name="connsiteY0" fmla="*/ 6564620 h 6858002"/>
                <a:gd name="connsiteX1" fmla="*/ 4214994 w 4572002"/>
                <a:gd name="connsiteY1" fmla="*/ 6564621 h 6858002"/>
                <a:gd name="connsiteX2" fmla="*/ 4237474 w 4572002"/>
                <a:gd name="connsiteY2" fmla="*/ 6588626 h 6858002"/>
                <a:gd name="connsiteX3" fmla="*/ 4254096 w 4572002"/>
                <a:gd name="connsiteY3" fmla="*/ 6625225 h 6858002"/>
                <a:gd name="connsiteX4" fmla="*/ 4247001 w 4572002"/>
                <a:gd name="connsiteY4" fmla="*/ 6662540 h 6858002"/>
                <a:gd name="connsiteX5" fmla="*/ 4247000 w 4572002"/>
                <a:gd name="connsiteY5" fmla="*/ 6662541 h 6858002"/>
                <a:gd name="connsiteX6" fmla="*/ 4246999 w 4572002"/>
                <a:gd name="connsiteY6" fmla="*/ 6662544 h 6858002"/>
                <a:gd name="connsiteX7" fmla="*/ 4235550 w 4572002"/>
                <a:gd name="connsiteY7" fmla="*/ 6683027 h 6858002"/>
                <a:gd name="connsiteX8" fmla="*/ 4232403 w 4572002"/>
                <a:gd name="connsiteY8" fmla="*/ 6702976 h 6858002"/>
                <a:gd name="connsiteX9" fmla="*/ 4232403 w 4572002"/>
                <a:gd name="connsiteY9" fmla="*/ 6702977 h 6858002"/>
                <a:gd name="connsiteX10" fmla="*/ 4246238 w 4572002"/>
                <a:gd name="connsiteY10" fmla="*/ 6742553 h 6858002"/>
                <a:gd name="connsiteX11" fmla="*/ 4246239 w 4572002"/>
                <a:gd name="connsiteY11" fmla="*/ 6742555 h 6858002"/>
                <a:gd name="connsiteX12" fmla="*/ 4265716 w 4572002"/>
                <a:gd name="connsiteY12" fmla="*/ 6812062 h 6858002"/>
                <a:gd name="connsiteX13" fmla="*/ 4265717 w 4572002"/>
                <a:gd name="connsiteY13" fmla="*/ 6812064 h 6858002"/>
                <a:gd name="connsiteX14" fmla="*/ 4265717 w 4572002"/>
                <a:gd name="connsiteY14" fmla="*/ 6812063 h 6858002"/>
                <a:gd name="connsiteX15" fmla="*/ 4265716 w 4572002"/>
                <a:gd name="connsiteY15" fmla="*/ 6812062 h 6858002"/>
                <a:gd name="connsiteX16" fmla="*/ 4260942 w 4572002"/>
                <a:gd name="connsiteY16" fmla="*/ 6776800 h 6858002"/>
                <a:gd name="connsiteX17" fmla="*/ 4246239 w 4572002"/>
                <a:gd name="connsiteY17" fmla="*/ 6742555 h 6858002"/>
                <a:gd name="connsiteX18" fmla="*/ 4246238 w 4572002"/>
                <a:gd name="connsiteY18" fmla="*/ 6742552 h 6858002"/>
                <a:gd name="connsiteX19" fmla="*/ 4232403 w 4572002"/>
                <a:gd name="connsiteY19" fmla="*/ 6702976 h 6858002"/>
                <a:gd name="connsiteX20" fmla="*/ 4246999 w 4572002"/>
                <a:gd name="connsiteY20" fmla="*/ 6662544 h 6858002"/>
                <a:gd name="connsiteX21" fmla="*/ 4247000 w 4572002"/>
                <a:gd name="connsiteY21" fmla="*/ 6662542 h 6858002"/>
                <a:gd name="connsiteX22" fmla="*/ 4247001 w 4572002"/>
                <a:gd name="connsiteY22" fmla="*/ 6662540 h 6858002"/>
                <a:gd name="connsiteX23" fmla="*/ 4254084 w 4572002"/>
                <a:gd name="connsiteY23" fmla="*/ 6645552 h 6858002"/>
                <a:gd name="connsiteX24" fmla="*/ 4254096 w 4572002"/>
                <a:gd name="connsiteY24" fmla="*/ 6625225 h 6858002"/>
                <a:gd name="connsiteX25" fmla="*/ 4254096 w 4572002"/>
                <a:gd name="connsiteY25" fmla="*/ 6625224 h 6858002"/>
                <a:gd name="connsiteX26" fmla="*/ 4237474 w 4572002"/>
                <a:gd name="connsiteY26" fmla="*/ 6588625 h 6858002"/>
                <a:gd name="connsiteX27" fmla="*/ 4295315 w 4572002"/>
                <a:gd name="connsiteY27" fmla="*/ 6438981 h 6858002"/>
                <a:gd name="connsiteX28" fmla="*/ 4275385 w 4572002"/>
                <a:gd name="connsiteY28" fmla="*/ 6463840 h 6858002"/>
                <a:gd name="connsiteX29" fmla="*/ 4275382 w 4572002"/>
                <a:gd name="connsiteY29" fmla="*/ 6463849 h 6858002"/>
                <a:gd name="connsiteX30" fmla="*/ 4261587 w 4572002"/>
                <a:gd name="connsiteY30" fmla="*/ 6513012 h 6858002"/>
                <a:gd name="connsiteX31" fmla="*/ 4242781 w 4572002"/>
                <a:gd name="connsiteY31" fmla="*/ 6546194 h 6858002"/>
                <a:gd name="connsiteX32" fmla="*/ 4242781 w 4572002"/>
                <a:gd name="connsiteY32" fmla="*/ 6546195 h 6858002"/>
                <a:gd name="connsiteX33" fmla="*/ 4259120 w 4572002"/>
                <a:gd name="connsiteY33" fmla="*/ 6521804 h 6858002"/>
                <a:gd name="connsiteX34" fmla="*/ 4261587 w 4572002"/>
                <a:gd name="connsiteY34" fmla="*/ 6513012 h 6858002"/>
                <a:gd name="connsiteX35" fmla="*/ 4264398 w 4572002"/>
                <a:gd name="connsiteY35" fmla="*/ 6508052 h 6858002"/>
                <a:gd name="connsiteX36" fmla="*/ 4275382 w 4572002"/>
                <a:gd name="connsiteY36" fmla="*/ 6463849 h 6858002"/>
                <a:gd name="connsiteX37" fmla="*/ 4275385 w 4572002"/>
                <a:gd name="connsiteY37" fmla="*/ 6463841 h 6858002"/>
                <a:gd name="connsiteX38" fmla="*/ 4295315 w 4572002"/>
                <a:gd name="connsiteY38" fmla="*/ 6438981 h 6858002"/>
                <a:gd name="connsiteX39" fmla="*/ 4381289 w 4572002"/>
                <a:gd name="connsiteY39" fmla="*/ 6365204 h 6858002"/>
                <a:gd name="connsiteX40" fmla="*/ 4380008 w 4572002"/>
                <a:gd name="connsiteY40" fmla="*/ 6387910 h 6858002"/>
                <a:gd name="connsiteX41" fmla="*/ 4378243 w 4572002"/>
                <a:gd name="connsiteY41" fmla="*/ 6391549 h 6858002"/>
                <a:gd name="connsiteX42" fmla="*/ 4370589 w 4572002"/>
                <a:gd name="connsiteY42" fmla="*/ 6407332 h 6858002"/>
                <a:gd name="connsiteX43" fmla="*/ 4370589 w 4572002"/>
                <a:gd name="connsiteY43" fmla="*/ 6407333 h 6858002"/>
                <a:gd name="connsiteX44" fmla="*/ 4378243 w 4572002"/>
                <a:gd name="connsiteY44" fmla="*/ 6391549 h 6858002"/>
                <a:gd name="connsiteX45" fmla="*/ 4380008 w 4572002"/>
                <a:gd name="connsiteY45" fmla="*/ 6387910 h 6858002"/>
                <a:gd name="connsiteX46" fmla="*/ 4142220 w 4572002"/>
                <a:gd name="connsiteY46" fmla="*/ 4221391 h 6858002"/>
                <a:gd name="connsiteX47" fmla="*/ 4142220 w 4572002"/>
                <a:gd name="connsiteY47" fmla="*/ 4221392 h 6858002"/>
                <a:gd name="connsiteX48" fmla="*/ 4147936 w 4572002"/>
                <a:gd name="connsiteY48" fmla="*/ 4253015 h 6858002"/>
                <a:gd name="connsiteX49" fmla="*/ 4187752 w 4572002"/>
                <a:gd name="connsiteY49" fmla="*/ 4324646 h 6858002"/>
                <a:gd name="connsiteX50" fmla="*/ 4196706 w 4572002"/>
                <a:gd name="connsiteY50" fmla="*/ 4363891 h 6858002"/>
                <a:gd name="connsiteX51" fmla="*/ 4195944 w 4572002"/>
                <a:gd name="connsiteY51" fmla="*/ 4482004 h 6858002"/>
                <a:gd name="connsiteX52" fmla="*/ 4135934 w 4572002"/>
                <a:gd name="connsiteY52" fmla="*/ 4659174 h 6858002"/>
                <a:gd name="connsiteX53" fmla="*/ 4127932 w 4572002"/>
                <a:gd name="connsiteY53" fmla="*/ 4677655 h 6858002"/>
                <a:gd name="connsiteX54" fmla="*/ 4118025 w 4572002"/>
                <a:gd name="connsiteY54" fmla="*/ 4767764 h 6858002"/>
                <a:gd name="connsiteX55" fmla="*/ 4116716 w 4572002"/>
                <a:gd name="connsiteY55" fmla="*/ 4800483 h 6858002"/>
                <a:gd name="connsiteX56" fmla="*/ 4116716 w 4572002"/>
                <a:gd name="connsiteY56" fmla="*/ 4800484 h 6858002"/>
                <a:gd name="connsiteX57" fmla="*/ 4131552 w 4572002"/>
                <a:gd name="connsiteY57" fmla="*/ 4828917 h 6858002"/>
                <a:gd name="connsiteX58" fmla="*/ 4153733 w 4572002"/>
                <a:gd name="connsiteY58" fmla="*/ 4863343 h 6858002"/>
                <a:gd name="connsiteX59" fmla="*/ 4161262 w 4572002"/>
                <a:gd name="connsiteY59" fmla="*/ 4889275 h 6858002"/>
                <a:gd name="connsiteX60" fmla="*/ 4159557 w 4572002"/>
                <a:gd name="connsiteY60" fmla="*/ 4912168 h 6858002"/>
                <a:gd name="connsiteX61" fmla="*/ 4158155 w 4572002"/>
                <a:gd name="connsiteY61" fmla="*/ 4933804 h 6858002"/>
                <a:gd name="connsiteX62" fmla="*/ 4158155 w 4572002"/>
                <a:gd name="connsiteY62" fmla="*/ 4933805 h 6858002"/>
                <a:gd name="connsiteX63" fmla="*/ 4162914 w 4572002"/>
                <a:gd name="connsiteY63" fmla="*/ 4952673 h 6858002"/>
                <a:gd name="connsiteX64" fmla="*/ 4165707 w 4572002"/>
                <a:gd name="connsiteY64" fmla="*/ 4957454 h 6858002"/>
                <a:gd name="connsiteX65" fmla="*/ 4166985 w 4572002"/>
                <a:gd name="connsiteY65" fmla="*/ 4961456 h 6858002"/>
                <a:gd name="connsiteX66" fmla="*/ 4182989 w 4572002"/>
                <a:gd name="connsiteY66" fmla="*/ 4987038 h 6858002"/>
                <a:gd name="connsiteX67" fmla="*/ 4209468 w 4572002"/>
                <a:gd name="connsiteY67" fmla="*/ 5041522 h 6858002"/>
                <a:gd name="connsiteX68" fmla="*/ 4216684 w 4572002"/>
                <a:gd name="connsiteY68" fmla="*/ 5072376 h 6858002"/>
                <a:gd name="connsiteX69" fmla="*/ 4222587 w 4572002"/>
                <a:gd name="connsiteY69" fmla="*/ 5087441 h 6858002"/>
                <a:gd name="connsiteX70" fmla="*/ 4235615 w 4572002"/>
                <a:gd name="connsiteY70" fmla="*/ 5133220 h 6858002"/>
                <a:gd name="connsiteX71" fmla="*/ 4235616 w 4572002"/>
                <a:gd name="connsiteY71" fmla="*/ 5133225 h 6858002"/>
                <a:gd name="connsiteX72" fmla="*/ 4228901 w 4572002"/>
                <a:gd name="connsiteY72" fmla="*/ 5166113 h 6858002"/>
                <a:gd name="connsiteX73" fmla="*/ 4228901 w 4572002"/>
                <a:gd name="connsiteY73" fmla="*/ 5166114 h 6858002"/>
                <a:gd name="connsiteX74" fmla="*/ 4229593 w 4572002"/>
                <a:gd name="connsiteY74" fmla="*/ 5172091 h 6858002"/>
                <a:gd name="connsiteX75" fmla="*/ 4232139 w 4572002"/>
                <a:gd name="connsiteY75" fmla="*/ 5179068 h 6858002"/>
                <a:gd name="connsiteX76" fmla="*/ 4231973 w 4572002"/>
                <a:gd name="connsiteY76" fmla="*/ 5229434 h 6858002"/>
                <a:gd name="connsiteX77" fmla="*/ 4225669 w 4572002"/>
                <a:gd name="connsiteY77" fmla="*/ 5241089 h 6858002"/>
                <a:gd name="connsiteX78" fmla="*/ 4208517 w 4572002"/>
                <a:gd name="connsiteY78" fmla="*/ 5272796 h 6858002"/>
                <a:gd name="connsiteX79" fmla="*/ 4184613 w 4572002"/>
                <a:gd name="connsiteY79" fmla="*/ 5312288 h 6858002"/>
                <a:gd name="connsiteX80" fmla="*/ 4183557 w 4572002"/>
                <a:gd name="connsiteY80" fmla="*/ 5321350 h 6858002"/>
                <a:gd name="connsiteX81" fmla="*/ 4181083 w 4572002"/>
                <a:gd name="connsiteY81" fmla="*/ 5326163 h 6858002"/>
                <a:gd name="connsiteX82" fmla="*/ 4179637 w 4572002"/>
                <a:gd name="connsiteY82" fmla="*/ 5355014 h 6858002"/>
                <a:gd name="connsiteX83" fmla="*/ 4179637 w 4572002"/>
                <a:gd name="connsiteY83" fmla="*/ 5355015 h 6858002"/>
                <a:gd name="connsiteX84" fmla="*/ 4184513 w 4572002"/>
                <a:gd name="connsiteY84" fmla="*/ 5385385 h 6858002"/>
                <a:gd name="connsiteX85" fmla="*/ 4192704 w 4572002"/>
                <a:gd name="connsiteY85" fmla="*/ 5425583 h 6858002"/>
                <a:gd name="connsiteX86" fmla="*/ 4204327 w 4572002"/>
                <a:gd name="connsiteY86" fmla="*/ 5480638 h 6858002"/>
                <a:gd name="connsiteX87" fmla="*/ 4208850 w 4572002"/>
                <a:gd name="connsiteY87" fmla="*/ 5507668 h 6858002"/>
                <a:gd name="connsiteX88" fmla="*/ 4198232 w 4572002"/>
                <a:gd name="connsiteY88" fmla="*/ 5531692 h 6858002"/>
                <a:gd name="connsiteX89" fmla="*/ 4198231 w 4572002"/>
                <a:gd name="connsiteY89" fmla="*/ 5531693 h 6858002"/>
                <a:gd name="connsiteX90" fmla="*/ 4188085 w 4572002"/>
                <a:gd name="connsiteY90" fmla="*/ 5547578 h 6858002"/>
                <a:gd name="connsiteX91" fmla="*/ 4188085 w 4572002"/>
                <a:gd name="connsiteY91" fmla="*/ 5547579 h 6858002"/>
                <a:gd name="connsiteX92" fmla="*/ 4197659 w 4572002"/>
                <a:gd name="connsiteY92" fmla="*/ 5562747 h 6858002"/>
                <a:gd name="connsiteX93" fmla="*/ 4268907 w 4572002"/>
                <a:gd name="connsiteY93" fmla="*/ 5704484 h 6858002"/>
                <a:gd name="connsiteX94" fmla="*/ 4274812 w 4572002"/>
                <a:gd name="connsiteY94" fmla="*/ 5740489 h 6858002"/>
                <a:gd name="connsiteX95" fmla="*/ 4283578 w 4572002"/>
                <a:gd name="connsiteY95" fmla="*/ 5760874 h 6858002"/>
                <a:gd name="connsiteX96" fmla="*/ 4371973 w 4572002"/>
                <a:gd name="connsiteY96" fmla="*/ 5883752 h 6858002"/>
                <a:gd name="connsiteX97" fmla="*/ 4371974 w 4572002"/>
                <a:gd name="connsiteY97" fmla="*/ 5883757 h 6858002"/>
                <a:gd name="connsiteX98" fmla="*/ 4389877 w 4572002"/>
                <a:gd name="connsiteY98" fmla="*/ 5935946 h 6858002"/>
                <a:gd name="connsiteX99" fmla="*/ 4389878 w 4572002"/>
                <a:gd name="connsiteY99" fmla="*/ 5935950 h 6858002"/>
                <a:gd name="connsiteX100" fmla="*/ 4386259 w 4572002"/>
                <a:gd name="connsiteY100" fmla="*/ 5993290 h 6858002"/>
                <a:gd name="connsiteX101" fmla="*/ 4386259 w 4572002"/>
                <a:gd name="connsiteY101" fmla="*/ 5993291 h 6858002"/>
                <a:gd name="connsiteX102" fmla="*/ 4379782 w 4572002"/>
                <a:gd name="connsiteY102" fmla="*/ 6026440 h 6858002"/>
                <a:gd name="connsiteX103" fmla="*/ 4323583 w 4572002"/>
                <a:gd name="connsiteY103" fmla="*/ 6108738 h 6858002"/>
                <a:gd name="connsiteX104" fmla="*/ 4309890 w 4572002"/>
                <a:gd name="connsiteY104" fmla="*/ 6133314 h 6858002"/>
                <a:gd name="connsiteX105" fmla="*/ 4309890 w 4572002"/>
                <a:gd name="connsiteY105" fmla="*/ 6133315 h 6858002"/>
                <a:gd name="connsiteX106" fmla="*/ 4313591 w 4572002"/>
                <a:gd name="connsiteY106" fmla="*/ 6143190 h 6858002"/>
                <a:gd name="connsiteX107" fmla="*/ 4325486 w 4572002"/>
                <a:gd name="connsiteY107" fmla="*/ 6155600 h 6858002"/>
                <a:gd name="connsiteX108" fmla="*/ 4325488 w 4572002"/>
                <a:gd name="connsiteY108" fmla="*/ 6155603 h 6858002"/>
                <a:gd name="connsiteX109" fmla="*/ 4364160 w 4572002"/>
                <a:gd name="connsiteY109" fmla="*/ 6228757 h 6858002"/>
                <a:gd name="connsiteX110" fmla="*/ 4381497 w 4572002"/>
                <a:gd name="connsiteY110" fmla="*/ 6361540 h 6858002"/>
                <a:gd name="connsiteX111" fmla="*/ 4381497 w 4572002"/>
                <a:gd name="connsiteY111" fmla="*/ 6361539 h 6858002"/>
                <a:gd name="connsiteX112" fmla="*/ 4364160 w 4572002"/>
                <a:gd name="connsiteY112" fmla="*/ 6228756 h 6858002"/>
                <a:gd name="connsiteX113" fmla="*/ 4325488 w 4572002"/>
                <a:gd name="connsiteY113" fmla="*/ 6155602 h 6858002"/>
                <a:gd name="connsiteX114" fmla="*/ 4325486 w 4572002"/>
                <a:gd name="connsiteY114" fmla="*/ 6155600 h 6858002"/>
                <a:gd name="connsiteX115" fmla="*/ 4309890 w 4572002"/>
                <a:gd name="connsiteY115" fmla="*/ 6133315 h 6858002"/>
                <a:gd name="connsiteX116" fmla="*/ 4323583 w 4572002"/>
                <a:gd name="connsiteY116" fmla="*/ 6108739 h 6858002"/>
                <a:gd name="connsiteX117" fmla="*/ 4379782 w 4572002"/>
                <a:gd name="connsiteY117" fmla="*/ 6026441 h 6858002"/>
                <a:gd name="connsiteX118" fmla="*/ 4386259 w 4572002"/>
                <a:gd name="connsiteY118" fmla="*/ 5993292 h 6858002"/>
                <a:gd name="connsiteX119" fmla="*/ 4386259 w 4572002"/>
                <a:gd name="connsiteY119" fmla="*/ 5993290 h 6858002"/>
                <a:gd name="connsiteX120" fmla="*/ 4389712 w 4572002"/>
                <a:gd name="connsiteY120" fmla="*/ 5964477 h 6858002"/>
                <a:gd name="connsiteX121" fmla="*/ 4389878 w 4572002"/>
                <a:gd name="connsiteY121" fmla="*/ 5935950 h 6858002"/>
                <a:gd name="connsiteX122" fmla="*/ 4389878 w 4572002"/>
                <a:gd name="connsiteY122" fmla="*/ 5935949 h 6858002"/>
                <a:gd name="connsiteX123" fmla="*/ 4389877 w 4572002"/>
                <a:gd name="connsiteY123" fmla="*/ 5935946 h 6858002"/>
                <a:gd name="connsiteX124" fmla="*/ 4382997 w 4572002"/>
                <a:gd name="connsiteY124" fmla="*/ 5909351 h 6858002"/>
                <a:gd name="connsiteX125" fmla="*/ 4371974 w 4572002"/>
                <a:gd name="connsiteY125" fmla="*/ 5883757 h 6858002"/>
                <a:gd name="connsiteX126" fmla="*/ 4371973 w 4572002"/>
                <a:gd name="connsiteY126" fmla="*/ 5883751 h 6858002"/>
                <a:gd name="connsiteX127" fmla="*/ 4283578 w 4572002"/>
                <a:gd name="connsiteY127" fmla="*/ 5760873 h 6858002"/>
                <a:gd name="connsiteX128" fmla="*/ 4274812 w 4572002"/>
                <a:gd name="connsiteY128" fmla="*/ 5740488 h 6858002"/>
                <a:gd name="connsiteX129" fmla="*/ 4268907 w 4572002"/>
                <a:gd name="connsiteY129" fmla="*/ 5704483 h 6858002"/>
                <a:gd name="connsiteX130" fmla="*/ 4197659 w 4572002"/>
                <a:gd name="connsiteY130" fmla="*/ 5562746 h 6858002"/>
                <a:gd name="connsiteX131" fmla="*/ 4188085 w 4572002"/>
                <a:gd name="connsiteY131" fmla="*/ 5547578 h 6858002"/>
                <a:gd name="connsiteX132" fmla="*/ 4198231 w 4572002"/>
                <a:gd name="connsiteY132" fmla="*/ 5531694 h 6858002"/>
                <a:gd name="connsiteX133" fmla="*/ 4198232 w 4572002"/>
                <a:gd name="connsiteY133" fmla="*/ 5531692 h 6858002"/>
                <a:gd name="connsiteX134" fmla="*/ 4206630 w 4572002"/>
                <a:gd name="connsiteY134" fmla="*/ 5520422 h 6858002"/>
                <a:gd name="connsiteX135" fmla="*/ 4208850 w 4572002"/>
                <a:gd name="connsiteY135" fmla="*/ 5507668 h 6858002"/>
                <a:gd name="connsiteX136" fmla="*/ 4208850 w 4572002"/>
                <a:gd name="connsiteY136" fmla="*/ 5507667 h 6858002"/>
                <a:gd name="connsiteX137" fmla="*/ 4204327 w 4572002"/>
                <a:gd name="connsiteY137" fmla="*/ 5480637 h 6858002"/>
                <a:gd name="connsiteX138" fmla="*/ 4192704 w 4572002"/>
                <a:gd name="connsiteY138" fmla="*/ 5425582 h 6858002"/>
                <a:gd name="connsiteX139" fmla="*/ 4184513 w 4572002"/>
                <a:gd name="connsiteY139" fmla="*/ 5385384 h 6858002"/>
                <a:gd name="connsiteX140" fmla="*/ 4179637 w 4572002"/>
                <a:gd name="connsiteY140" fmla="*/ 5355014 h 6858002"/>
                <a:gd name="connsiteX141" fmla="*/ 4183557 w 4572002"/>
                <a:gd name="connsiteY141" fmla="*/ 5321350 h 6858002"/>
                <a:gd name="connsiteX142" fmla="*/ 4208517 w 4572002"/>
                <a:gd name="connsiteY142" fmla="*/ 5272797 h 6858002"/>
                <a:gd name="connsiteX143" fmla="*/ 4225669 w 4572002"/>
                <a:gd name="connsiteY143" fmla="*/ 5241089 h 6858002"/>
                <a:gd name="connsiteX144" fmla="*/ 4231973 w 4572002"/>
                <a:gd name="connsiteY144" fmla="*/ 5229433 h 6858002"/>
                <a:gd name="connsiteX145" fmla="*/ 4232139 w 4572002"/>
                <a:gd name="connsiteY145" fmla="*/ 5179068 h 6858002"/>
                <a:gd name="connsiteX146" fmla="*/ 4232139 w 4572002"/>
                <a:gd name="connsiteY146" fmla="*/ 5179067 h 6858002"/>
                <a:gd name="connsiteX147" fmla="*/ 4229593 w 4572002"/>
                <a:gd name="connsiteY147" fmla="*/ 5172090 h 6858002"/>
                <a:gd name="connsiteX148" fmla="*/ 4228901 w 4572002"/>
                <a:gd name="connsiteY148" fmla="*/ 5166114 h 6858002"/>
                <a:gd name="connsiteX149" fmla="*/ 4235616 w 4572002"/>
                <a:gd name="connsiteY149" fmla="*/ 5133225 h 6858002"/>
                <a:gd name="connsiteX150" fmla="*/ 4235616 w 4572002"/>
                <a:gd name="connsiteY150" fmla="*/ 5133224 h 6858002"/>
                <a:gd name="connsiteX151" fmla="*/ 4235615 w 4572002"/>
                <a:gd name="connsiteY151" fmla="*/ 5133220 h 6858002"/>
                <a:gd name="connsiteX152" fmla="*/ 4228473 w 4572002"/>
                <a:gd name="connsiteY152" fmla="*/ 5102461 h 6858002"/>
                <a:gd name="connsiteX153" fmla="*/ 4222587 w 4572002"/>
                <a:gd name="connsiteY153" fmla="*/ 5087441 h 6858002"/>
                <a:gd name="connsiteX154" fmla="*/ 4222582 w 4572002"/>
                <a:gd name="connsiteY154" fmla="*/ 5087423 h 6858002"/>
                <a:gd name="connsiteX155" fmla="*/ 4209468 w 4572002"/>
                <a:gd name="connsiteY155" fmla="*/ 5041521 h 6858002"/>
                <a:gd name="connsiteX156" fmla="*/ 4182989 w 4572002"/>
                <a:gd name="connsiteY156" fmla="*/ 4987037 h 6858002"/>
                <a:gd name="connsiteX157" fmla="*/ 4165707 w 4572002"/>
                <a:gd name="connsiteY157" fmla="*/ 4957454 h 6858002"/>
                <a:gd name="connsiteX158" fmla="*/ 4158155 w 4572002"/>
                <a:gd name="connsiteY158" fmla="*/ 4933805 h 6858002"/>
                <a:gd name="connsiteX159" fmla="*/ 4159557 w 4572002"/>
                <a:gd name="connsiteY159" fmla="*/ 4912169 h 6858002"/>
                <a:gd name="connsiteX160" fmla="*/ 4161262 w 4572002"/>
                <a:gd name="connsiteY160" fmla="*/ 4889276 h 6858002"/>
                <a:gd name="connsiteX161" fmla="*/ 4161262 w 4572002"/>
                <a:gd name="connsiteY161" fmla="*/ 4889275 h 6858002"/>
                <a:gd name="connsiteX162" fmla="*/ 4156484 w 4572002"/>
                <a:gd name="connsiteY162" fmla="*/ 4867614 h 6858002"/>
                <a:gd name="connsiteX163" fmla="*/ 4153733 w 4572002"/>
                <a:gd name="connsiteY163" fmla="*/ 4863343 h 6858002"/>
                <a:gd name="connsiteX164" fmla="*/ 4151983 w 4572002"/>
                <a:gd name="connsiteY164" fmla="*/ 4857317 h 6858002"/>
                <a:gd name="connsiteX165" fmla="*/ 4131552 w 4572002"/>
                <a:gd name="connsiteY165" fmla="*/ 4828916 h 6858002"/>
                <a:gd name="connsiteX166" fmla="*/ 4116716 w 4572002"/>
                <a:gd name="connsiteY166" fmla="*/ 4800483 h 6858002"/>
                <a:gd name="connsiteX167" fmla="*/ 4118025 w 4572002"/>
                <a:gd name="connsiteY167" fmla="*/ 4767765 h 6858002"/>
                <a:gd name="connsiteX168" fmla="*/ 4127932 w 4572002"/>
                <a:gd name="connsiteY168" fmla="*/ 4677656 h 6858002"/>
                <a:gd name="connsiteX169" fmla="*/ 4135934 w 4572002"/>
                <a:gd name="connsiteY169" fmla="*/ 4659175 h 6858002"/>
                <a:gd name="connsiteX170" fmla="*/ 4195944 w 4572002"/>
                <a:gd name="connsiteY170" fmla="*/ 4482005 h 6858002"/>
                <a:gd name="connsiteX171" fmla="*/ 4196706 w 4572002"/>
                <a:gd name="connsiteY171" fmla="*/ 4363891 h 6858002"/>
                <a:gd name="connsiteX172" fmla="*/ 4196706 w 4572002"/>
                <a:gd name="connsiteY172" fmla="*/ 4363890 h 6858002"/>
                <a:gd name="connsiteX173" fmla="*/ 4187752 w 4572002"/>
                <a:gd name="connsiteY173" fmla="*/ 4324645 h 6858002"/>
                <a:gd name="connsiteX174" fmla="*/ 4147936 w 4572002"/>
                <a:gd name="connsiteY174" fmla="*/ 4253014 h 6858002"/>
                <a:gd name="connsiteX175" fmla="*/ 4211111 w 4572002"/>
                <a:gd name="connsiteY175" fmla="*/ 2836172 h 6858002"/>
                <a:gd name="connsiteX176" fmla="*/ 4202421 w 4572002"/>
                <a:gd name="connsiteY176" fmla="*/ 2848793 h 6858002"/>
                <a:gd name="connsiteX177" fmla="*/ 4186816 w 4572002"/>
                <a:gd name="connsiteY177" fmla="*/ 2897785 h 6858002"/>
                <a:gd name="connsiteX178" fmla="*/ 4185787 w 4572002"/>
                <a:gd name="connsiteY178" fmla="*/ 2903551 h 6858002"/>
                <a:gd name="connsiteX179" fmla="*/ 4182513 w 4572002"/>
                <a:gd name="connsiteY179" fmla="*/ 2914328 h 6858002"/>
                <a:gd name="connsiteX180" fmla="*/ 4177882 w 4572002"/>
                <a:gd name="connsiteY180" fmla="*/ 2947858 h 6858002"/>
                <a:gd name="connsiteX181" fmla="*/ 4177881 w 4572002"/>
                <a:gd name="connsiteY181" fmla="*/ 2947862 h 6858002"/>
                <a:gd name="connsiteX182" fmla="*/ 4177881 w 4572002"/>
                <a:gd name="connsiteY182" fmla="*/ 2947863 h 6858002"/>
                <a:gd name="connsiteX183" fmla="*/ 4181465 w 4572002"/>
                <a:gd name="connsiteY183" fmla="*/ 2982149 h 6858002"/>
                <a:gd name="connsiteX184" fmla="*/ 4193158 w 4572002"/>
                <a:gd name="connsiteY184" fmla="*/ 3077402 h 6858002"/>
                <a:gd name="connsiteX185" fmla="*/ 4180703 w 4572002"/>
                <a:gd name="connsiteY185" fmla="*/ 3172654 h 6858002"/>
                <a:gd name="connsiteX186" fmla="*/ 4133076 w 4572002"/>
                <a:gd name="connsiteY186" fmla="*/ 3489467 h 6858002"/>
                <a:gd name="connsiteX187" fmla="*/ 4110977 w 4572002"/>
                <a:gd name="connsiteY187" fmla="*/ 3544713 h 6858002"/>
                <a:gd name="connsiteX188" fmla="*/ 4093355 w 4572002"/>
                <a:gd name="connsiteY188" fmla="*/ 3574408 h 6858002"/>
                <a:gd name="connsiteX189" fmla="*/ 4093355 w 4572002"/>
                <a:gd name="connsiteY189" fmla="*/ 3574409 h 6858002"/>
                <a:gd name="connsiteX190" fmla="*/ 4105453 w 4572002"/>
                <a:gd name="connsiteY190" fmla="*/ 3606818 h 6858002"/>
                <a:gd name="connsiteX191" fmla="*/ 4118979 w 4572002"/>
                <a:gd name="connsiteY191" fmla="*/ 3630633 h 6858002"/>
                <a:gd name="connsiteX192" fmla="*/ 4136708 w 4572002"/>
                <a:gd name="connsiteY192" fmla="*/ 3654416 h 6858002"/>
                <a:gd name="connsiteX193" fmla="*/ 4140382 w 4572002"/>
                <a:gd name="connsiteY193" fmla="*/ 3668940 h 6858002"/>
                <a:gd name="connsiteX194" fmla="*/ 4143220 w 4572002"/>
                <a:gd name="connsiteY194" fmla="*/ 3680164 h 6858002"/>
                <a:gd name="connsiteX195" fmla="*/ 4139172 w 4572002"/>
                <a:gd name="connsiteY195" fmla="*/ 3734837 h 6858002"/>
                <a:gd name="connsiteX196" fmla="*/ 4139172 w 4572002"/>
                <a:gd name="connsiteY196" fmla="*/ 3734838 h 6858002"/>
                <a:gd name="connsiteX197" fmla="*/ 4139554 w 4572002"/>
                <a:gd name="connsiteY197" fmla="*/ 3754653 h 6858002"/>
                <a:gd name="connsiteX198" fmla="*/ 4145911 w 4572002"/>
                <a:gd name="connsiteY198" fmla="*/ 3789776 h 6858002"/>
                <a:gd name="connsiteX199" fmla="*/ 4130980 w 4572002"/>
                <a:gd name="connsiteY199" fmla="*/ 3822472 h 6858002"/>
                <a:gd name="connsiteX200" fmla="*/ 4116645 w 4572002"/>
                <a:gd name="connsiteY200" fmla="*/ 3852619 h 6858002"/>
                <a:gd name="connsiteX201" fmla="*/ 4116645 w 4572002"/>
                <a:gd name="connsiteY201" fmla="*/ 3852620 h 6858002"/>
                <a:gd name="connsiteX202" fmla="*/ 4117425 w 4572002"/>
                <a:gd name="connsiteY202" fmla="*/ 3868764 h 6858002"/>
                <a:gd name="connsiteX203" fmla="*/ 4126028 w 4572002"/>
                <a:gd name="connsiteY203" fmla="*/ 3885337 h 6858002"/>
                <a:gd name="connsiteX204" fmla="*/ 4126028 w 4572002"/>
                <a:gd name="connsiteY204" fmla="*/ 3885339 h 6858002"/>
                <a:gd name="connsiteX205" fmla="*/ 4148409 w 4572002"/>
                <a:gd name="connsiteY205" fmla="*/ 3923125 h 6858002"/>
                <a:gd name="connsiteX206" fmla="*/ 4157913 w 4572002"/>
                <a:gd name="connsiteY206" fmla="*/ 3962160 h 6858002"/>
                <a:gd name="connsiteX207" fmla="*/ 4142221 w 4572002"/>
                <a:gd name="connsiteY207" fmla="*/ 4043838 h 6858002"/>
                <a:gd name="connsiteX208" fmla="*/ 4142220 w 4572002"/>
                <a:gd name="connsiteY208" fmla="*/ 4043839 h 6858002"/>
                <a:gd name="connsiteX209" fmla="*/ 4127099 w 4572002"/>
                <a:gd name="connsiteY209" fmla="*/ 4103825 h 6858002"/>
                <a:gd name="connsiteX210" fmla="*/ 4127099 w 4572002"/>
                <a:gd name="connsiteY210" fmla="*/ 4103826 h 6858002"/>
                <a:gd name="connsiteX211" fmla="*/ 4129066 w 4572002"/>
                <a:gd name="connsiteY211" fmla="*/ 4134256 h 6858002"/>
                <a:gd name="connsiteX212" fmla="*/ 4138410 w 4572002"/>
                <a:gd name="connsiteY212" fmla="*/ 4165382 h 6858002"/>
                <a:gd name="connsiteX213" fmla="*/ 4138410 w 4572002"/>
                <a:gd name="connsiteY213" fmla="*/ 4165384 h 6858002"/>
                <a:gd name="connsiteX214" fmla="*/ 4142315 w 4572002"/>
                <a:gd name="connsiteY214" fmla="*/ 4192388 h 6858002"/>
                <a:gd name="connsiteX215" fmla="*/ 4142315 w 4572002"/>
                <a:gd name="connsiteY215" fmla="*/ 4192387 h 6858002"/>
                <a:gd name="connsiteX216" fmla="*/ 4138410 w 4572002"/>
                <a:gd name="connsiteY216" fmla="*/ 4165383 h 6858002"/>
                <a:gd name="connsiteX217" fmla="*/ 4138410 w 4572002"/>
                <a:gd name="connsiteY217" fmla="*/ 4165382 h 6858002"/>
                <a:gd name="connsiteX218" fmla="*/ 4127099 w 4572002"/>
                <a:gd name="connsiteY218" fmla="*/ 4103826 h 6858002"/>
                <a:gd name="connsiteX219" fmla="*/ 4142220 w 4572002"/>
                <a:gd name="connsiteY219" fmla="*/ 4043840 h 6858002"/>
                <a:gd name="connsiteX220" fmla="*/ 4142221 w 4572002"/>
                <a:gd name="connsiteY220" fmla="*/ 4043838 h 6858002"/>
                <a:gd name="connsiteX221" fmla="*/ 4155523 w 4572002"/>
                <a:gd name="connsiteY221" fmla="*/ 4002410 h 6858002"/>
                <a:gd name="connsiteX222" fmla="*/ 4157913 w 4572002"/>
                <a:gd name="connsiteY222" fmla="*/ 3962160 h 6858002"/>
                <a:gd name="connsiteX223" fmla="*/ 4157913 w 4572002"/>
                <a:gd name="connsiteY223" fmla="*/ 3962159 h 6858002"/>
                <a:gd name="connsiteX224" fmla="*/ 4126028 w 4572002"/>
                <a:gd name="connsiteY224" fmla="*/ 3885338 h 6858002"/>
                <a:gd name="connsiteX225" fmla="*/ 4126028 w 4572002"/>
                <a:gd name="connsiteY225" fmla="*/ 3885337 h 6858002"/>
                <a:gd name="connsiteX226" fmla="*/ 4116645 w 4572002"/>
                <a:gd name="connsiteY226" fmla="*/ 3852620 h 6858002"/>
                <a:gd name="connsiteX227" fmla="*/ 4130980 w 4572002"/>
                <a:gd name="connsiteY227" fmla="*/ 3822473 h 6858002"/>
                <a:gd name="connsiteX228" fmla="*/ 4145911 w 4572002"/>
                <a:gd name="connsiteY228" fmla="*/ 3789777 h 6858002"/>
                <a:gd name="connsiteX229" fmla="*/ 4145911 w 4572002"/>
                <a:gd name="connsiteY229" fmla="*/ 3789776 h 6858002"/>
                <a:gd name="connsiteX230" fmla="*/ 4139554 w 4572002"/>
                <a:gd name="connsiteY230" fmla="*/ 3754652 h 6858002"/>
                <a:gd name="connsiteX231" fmla="*/ 4139172 w 4572002"/>
                <a:gd name="connsiteY231" fmla="*/ 3734838 h 6858002"/>
                <a:gd name="connsiteX232" fmla="*/ 4143220 w 4572002"/>
                <a:gd name="connsiteY232" fmla="*/ 3680164 h 6858002"/>
                <a:gd name="connsiteX233" fmla="*/ 4143220 w 4572002"/>
                <a:gd name="connsiteY233" fmla="*/ 3680163 h 6858002"/>
                <a:gd name="connsiteX234" fmla="*/ 4140382 w 4572002"/>
                <a:gd name="connsiteY234" fmla="*/ 3668940 h 6858002"/>
                <a:gd name="connsiteX235" fmla="*/ 4136708 w 4572002"/>
                <a:gd name="connsiteY235" fmla="*/ 3654416 h 6858002"/>
                <a:gd name="connsiteX236" fmla="*/ 4136708 w 4572002"/>
                <a:gd name="connsiteY236" fmla="*/ 3654416 h 6858002"/>
                <a:gd name="connsiteX237" fmla="*/ 4136708 w 4572002"/>
                <a:gd name="connsiteY237" fmla="*/ 3654415 h 6858002"/>
                <a:gd name="connsiteX238" fmla="*/ 4118979 w 4572002"/>
                <a:gd name="connsiteY238" fmla="*/ 3630632 h 6858002"/>
                <a:gd name="connsiteX239" fmla="*/ 4105453 w 4572002"/>
                <a:gd name="connsiteY239" fmla="*/ 3606817 h 6858002"/>
                <a:gd name="connsiteX240" fmla="*/ 4095707 w 4572002"/>
                <a:gd name="connsiteY240" fmla="*/ 3587174 h 6858002"/>
                <a:gd name="connsiteX241" fmla="*/ 4093355 w 4572002"/>
                <a:gd name="connsiteY241" fmla="*/ 3574408 h 6858002"/>
                <a:gd name="connsiteX242" fmla="*/ 4098434 w 4572002"/>
                <a:gd name="connsiteY242" fmla="*/ 3562321 h 6858002"/>
                <a:gd name="connsiteX243" fmla="*/ 4110977 w 4572002"/>
                <a:gd name="connsiteY243" fmla="*/ 3544714 h 6858002"/>
                <a:gd name="connsiteX244" fmla="*/ 4133076 w 4572002"/>
                <a:gd name="connsiteY244" fmla="*/ 3489468 h 6858002"/>
                <a:gd name="connsiteX245" fmla="*/ 4180703 w 4572002"/>
                <a:gd name="connsiteY245" fmla="*/ 3172655 h 6858002"/>
                <a:gd name="connsiteX246" fmla="*/ 4193158 w 4572002"/>
                <a:gd name="connsiteY246" fmla="*/ 3077402 h 6858002"/>
                <a:gd name="connsiteX247" fmla="*/ 4193158 w 4572002"/>
                <a:gd name="connsiteY247" fmla="*/ 3077401 h 6858002"/>
                <a:gd name="connsiteX248" fmla="*/ 4181465 w 4572002"/>
                <a:gd name="connsiteY248" fmla="*/ 2982148 h 6858002"/>
                <a:gd name="connsiteX249" fmla="*/ 4177881 w 4572002"/>
                <a:gd name="connsiteY249" fmla="*/ 2947863 h 6858002"/>
                <a:gd name="connsiteX250" fmla="*/ 4177882 w 4572002"/>
                <a:gd name="connsiteY250" fmla="*/ 2947858 h 6858002"/>
                <a:gd name="connsiteX251" fmla="*/ 4185787 w 4572002"/>
                <a:gd name="connsiteY251" fmla="*/ 2903551 h 6858002"/>
                <a:gd name="connsiteX252" fmla="*/ 4202421 w 4572002"/>
                <a:gd name="connsiteY252" fmla="*/ 2848794 h 6858002"/>
                <a:gd name="connsiteX253" fmla="*/ 4211111 w 4572002"/>
                <a:gd name="connsiteY253" fmla="*/ 2836173 h 6858002"/>
                <a:gd name="connsiteX254" fmla="*/ 3726625 w 4572002"/>
                <a:gd name="connsiteY254" fmla="*/ 1508458 h 6858002"/>
                <a:gd name="connsiteX255" fmla="*/ 3698531 w 4572002"/>
                <a:gd name="connsiteY255" fmla="*/ 1596214 h 6858002"/>
                <a:gd name="connsiteX256" fmla="*/ 3700436 w 4572002"/>
                <a:gd name="connsiteY256" fmla="*/ 1624981 h 6858002"/>
                <a:gd name="connsiteX257" fmla="*/ 3757017 w 4572002"/>
                <a:gd name="connsiteY257" fmla="*/ 1697754 h 6858002"/>
                <a:gd name="connsiteX258" fmla="*/ 3779686 w 4572002"/>
                <a:gd name="connsiteY258" fmla="*/ 1733189 h 6858002"/>
                <a:gd name="connsiteX259" fmla="*/ 3821407 w 4572002"/>
                <a:gd name="connsiteY259" fmla="*/ 1833776 h 6858002"/>
                <a:gd name="connsiteX260" fmla="*/ 3829028 w 4572002"/>
                <a:gd name="connsiteY260" fmla="*/ 1842159 h 6858002"/>
                <a:gd name="connsiteX261" fmla="*/ 3919519 w 4572002"/>
                <a:gd name="connsiteY261" fmla="*/ 1916455 h 6858002"/>
                <a:gd name="connsiteX262" fmla="*/ 3934949 w 4572002"/>
                <a:gd name="connsiteY262" fmla="*/ 1933220 h 6858002"/>
                <a:gd name="connsiteX263" fmla="*/ 3958954 w 4572002"/>
                <a:gd name="connsiteY263" fmla="*/ 1953414 h 6858002"/>
                <a:gd name="connsiteX264" fmla="*/ 4005437 w 4572002"/>
                <a:gd name="connsiteY264" fmla="*/ 2016470 h 6858002"/>
                <a:gd name="connsiteX265" fmla="*/ 4020296 w 4572002"/>
                <a:gd name="connsiteY265" fmla="*/ 2094579 h 6858002"/>
                <a:gd name="connsiteX266" fmla="*/ 4042967 w 4572002"/>
                <a:gd name="connsiteY266" fmla="*/ 2188880 h 6858002"/>
                <a:gd name="connsiteX267" fmla="*/ 4058207 w 4572002"/>
                <a:gd name="connsiteY267" fmla="*/ 2228315 h 6858002"/>
                <a:gd name="connsiteX268" fmla="*/ 4087164 w 4572002"/>
                <a:gd name="connsiteY268" fmla="*/ 2334045 h 6858002"/>
                <a:gd name="connsiteX269" fmla="*/ 4111549 w 4572002"/>
                <a:gd name="connsiteY269" fmla="*/ 2409486 h 6858002"/>
                <a:gd name="connsiteX270" fmla="*/ 4128650 w 4572002"/>
                <a:gd name="connsiteY270" fmla="*/ 2435913 h 6858002"/>
                <a:gd name="connsiteX271" fmla="*/ 4134481 w 4572002"/>
                <a:gd name="connsiteY271" fmla="*/ 2463018 h 6858002"/>
                <a:gd name="connsiteX272" fmla="*/ 4125839 w 4572002"/>
                <a:gd name="connsiteY272" fmla="*/ 2518262 h 6858002"/>
                <a:gd name="connsiteX273" fmla="*/ 4125838 w 4572002"/>
                <a:gd name="connsiteY273" fmla="*/ 2518264 h 6858002"/>
                <a:gd name="connsiteX274" fmla="*/ 4122194 w 4572002"/>
                <a:gd name="connsiteY274" fmla="*/ 2545006 h 6858002"/>
                <a:gd name="connsiteX275" fmla="*/ 4122194 w 4572002"/>
                <a:gd name="connsiteY275" fmla="*/ 2545007 h 6858002"/>
                <a:gd name="connsiteX276" fmla="*/ 4126408 w 4572002"/>
                <a:gd name="connsiteY276" fmla="*/ 2571035 h 6858002"/>
                <a:gd name="connsiteX277" fmla="*/ 4199563 w 4572002"/>
                <a:gd name="connsiteY277" fmla="*/ 2668002 h 6858002"/>
                <a:gd name="connsiteX278" fmla="*/ 4247953 w 4572002"/>
                <a:gd name="connsiteY278" fmla="*/ 2745349 h 6858002"/>
                <a:gd name="connsiteX279" fmla="*/ 4247954 w 4572002"/>
                <a:gd name="connsiteY279" fmla="*/ 2745352 h 6858002"/>
                <a:gd name="connsiteX280" fmla="*/ 4253873 w 4572002"/>
                <a:gd name="connsiteY280" fmla="*/ 2778006 h 6858002"/>
                <a:gd name="connsiteX281" fmla="*/ 4253453 w 4572002"/>
                <a:gd name="connsiteY281" fmla="*/ 2785440 h 6858002"/>
                <a:gd name="connsiteX282" fmla="*/ 4243374 w 4572002"/>
                <a:gd name="connsiteY282" fmla="*/ 2811780 h 6858002"/>
                <a:gd name="connsiteX283" fmla="*/ 4243371 w 4572002"/>
                <a:gd name="connsiteY283" fmla="*/ 2811787 h 6858002"/>
                <a:gd name="connsiteX284" fmla="*/ 4243372 w 4572002"/>
                <a:gd name="connsiteY284" fmla="*/ 2811787 h 6858002"/>
                <a:gd name="connsiteX285" fmla="*/ 4243374 w 4572002"/>
                <a:gd name="connsiteY285" fmla="*/ 2811780 h 6858002"/>
                <a:gd name="connsiteX286" fmla="*/ 4253025 w 4572002"/>
                <a:gd name="connsiteY286" fmla="*/ 2793023 h 6858002"/>
                <a:gd name="connsiteX287" fmla="*/ 4253453 w 4572002"/>
                <a:gd name="connsiteY287" fmla="*/ 2785440 h 6858002"/>
                <a:gd name="connsiteX288" fmla="*/ 4254654 w 4572002"/>
                <a:gd name="connsiteY288" fmla="*/ 2782305 h 6858002"/>
                <a:gd name="connsiteX289" fmla="*/ 4253873 w 4572002"/>
                <a:gd name="connsiteY289" fmla="*/ 2778006 h 6858002"/>
                <a:gd name="connsiteX290" fmla="*/ 4254284 w 4572002"/>
                <a:gd name="connsiteY290" fmla="*/ 2770758 h 6858002"/>
                <a:gd name="connsiteX291" fmla="*/ 4247954 w 4572002"/>
                <a:gd name="connsiteY291" fmla="*/ 2745352 h 6858002"/>
                <a:gd name="connsiteX292" fmla="*/ 4247953 w 4572002"/>
                <a:gd name="connsiteY292" fmla="*/ 2745348 h 6858002"/>
                <a:gd name="connsiteX293" fmla="*/ 4199563 w 4572002"/>
                <a:gd name="connsiteY293" fmla="*/ 2668001 h 6858002"/>
                <a:gd name="connsiteX294" fmla="*/ 4126408 w 4572002"/>
                <a:gd name="connsiteY294" fmla="*/ 2571034 h 6858002"/>
                <a:gd name="connsiteX295" fmla="*/ 4122194 w 4572002"/>
                <a:gd name="connsiteY295" fmla="*/ 2545007 h 6858002"/>
                <a:gd name="connsiteX296" fmla="*/ 4125838 w 4572002"/>
                <a:gd name="connsiteY296" fmla="*/ 2518265 h 6858002"/>
                <a:gd name="connsiteX297" fmla="*/ 4125839 w 4572002"/>
                <a:gd name="connsiteY297" fmla="*/ 2518262 h 6858002"/>
                <a:gd name="connsiteX298" fmla="*/ 4132419 w 4572002"/>
                <a:gd name="connsiteY298" fmla="*/ 2490551 h 6858002"/>
                <a:gd name="connsiteX299" fmla="*/ 4134481 w 4572002"/>
                <a:gd name="connsiteY299" fmla="*/ 2463018 h 6858002"/>
                <a:gd name="connsiteX300" fmla="*/ 4134481 w 4572002"/>
                <a:gd name="connsiteY300" fmla="*/ 2463017 h 6858002"/>
                <a:gd name="connsiteX301" fmla="*/ 4111549 w 4572002"/>
                <a:gd name="connsiteY301" fmla="*/ 2409485 h 6858002"/>
                <a:gd name="connsiteX302" fmla="*/ 4087164 w 4572002"/>
                <a:gd name="connsiteY302" fmla="*/ 2334044 h 6858002"/>
                <a:gd name="connsiteX303" fmla="*/ 4058207 w 4572002"/>
                <a:gd name="connsiteY303" fmla="*/ 2228314 h 6858002"/>
                <a:gd name="connsiteX304" fmla="*/ 4042967 w 4572002"/>
                <a:gd name="connsiteY304" fmla="*/ 2188879 h 6858002"/>
                <a:gd name="connsiteX305" fmla="*/ 4020296 w 4572002"/>
                <a:gd name="connsiteY305" fmla="*/ 2094578 h 6858002"/>
                <a:gd name="connsiteX306" fmla="*/ 4005437 w 4572002"/>
                <a:gd name="connsiteY306" fmla="*/ 2016469 h 6858002"/>
                <a:gd name="connsiteX307" fmla="*/ 3958954 w 4572002"/>
                <a:gd name="connsiteY307" fmla="*/ 1953413 h 6858002"/>
                <a:gd name="connsiteX308" fmla="*/ 3934949 w 4572002"/>
                <a:gd name="connsiteY308" fmla="*/ 1933219 h 6858002"/>
                <a:gd name="connsiteX309" fmla="*/ 3919519 w 4572002"/>
                <a:gd name="connsiteY309" fmla="*/ 1916454 h 6858002"/>
                <a:gd name="connsiteX310" fmla="*/ 3829028 w 4572002"/>
                <a:gd name="connsiteY310" fmla="*/ 1842158 h 6858002"/>
                <a:gd name="connsiteX311" fmla="*/ 3821407 w 4572002"/>
                <a:gd name="connsiteY311" fmla="*/ 1833775 h 6858002"/>
                <a:gd name="connsiteX312" fmla="*/ 3779686 w 4572002"/>
                <a:gd name="connsiteY312" fmla="*/ 1733188 h 6858002"/>
                <a:gd name="connsiteX313" fmla="*/ 3757018 w 4572002"/>
                <a:gd name="connsiteY313" fmla="*/ 1697753 h 6858002"/>
                <a:gd name="connsiteX314" fmla="*/ 3700436 w 4572002"/>
                <a:gd name="connsiteY314" fmla="*/ 1624980 h 6858002"/>
                <a:gd name="connsiteX315" fmla="*/ 3698532 w 4572002"/>
                <a:gd name="connsiteY315" fmla="*/ 1596213 h 6858002"/>
                <a:gd name="connsiteX316" fmla="*/ 3745230 w 4572002"/>
                <a:gd name="connsiteY316" fmla="*/ 1459073 h 6858002"/>
                <a:gd name="connsiteX317" fmla="*/ 3745229 w 4572002"/>
                <a:gd name="connsiteY317" fmla="*/ 1459074 h 6858002"/>
                <a:gd name="connsiteX318" fmla="*/ 3736012 w 4572002"/>
                <a:gd name="connsiteY318" fmla="*/ 1481572 h 6858002"/>
                <a:gd name="connsiteX319" fmla="*/ 3764423 w 4572002"/>
                <a:gd name="connsiteY319" fmla="*/ 1268758 h 6858002"/>
                <a:gd name="connsiteX320" fmla="*/ 3769590 w 4572002"/>
                <a:gd name="connsiteY320" fmla="*/ 1286070 h 6858002"/>
                <a:gd name="connsiteX321" fmla="*/ 3791927 w 4572002"/>
                <a:gd name="connsiteY321" fmla="*/ 1350628 h 6858002"/>
                <a:gd name="connsiteX322" fmla="*/ 3786333 w 4572002"/>
                <a:gd name="connsiteY322" fmla="*/ 1413840 h 6858002"/>
                <a:gd name="connsiteX323" fmla="*/ 3791928 w 4572002"/>
                <a:gd name="connsiteY323" fmla="*/ 1350627 h 6858002"/>
                <a:gd name="connsiteX324" fmla="*/ 3769590 w 4572002"/>
                <a:gd name="connsiteY324" fmla="*/ 1286069 h 6858002"/>
                <a:gd name="connsiteX325" fmla="*/ 3706152 w 4572002"/>
                <a:gd name="connsiteY325" fmla="*/ 773035 h 6858002"/>
                <a:gd name="connsiteX326" fmla="*/ 3706152 w 4572002"/>
                <a:gd name="connsiteY326" fmla="*/ 773036 h 6858002"/>
                <a:gd name="connsiteX327" fmla="*/ 3714152 w 4572002"/>
                <a:gd name="connsiteY327" fmla="*/ 854380 h 6858002"/>
                <a:gd name="connsiteX328" fmla="*/ 3745205 w 4572002"/>
                <a:gd name="connsiteY328" fmla="*/ 915344 h 6858002"/>
                <a:gd name="connsiteX329" fmla="*/ 3755683 w 4572002"/>
                <a:gd name="connsiteY329" fmla="*/ 927156 h 6858002"/>
                <a:gd name="connsiteX330" fmla="*/ 3752063 w 4572002"/>
                <a:gd name="connsiteY330" fmla="*/ 1097088 h 6858002"/>
                <a:gd name="connsiteX331" fmla="*/ 3747681 w 4572002"/>
                <a:gd name="connsiteY331" fmla="*/ 1123186 h 6858002"/>
                <a:gd name="connsiteX332" fmla="*/ 3772400 w 4572002"/>
                <a:gd name="connsiteY332" fmla="*/ 1184029 h 6858002"/>
                <a:gd name="connsiteX333" fmla="*/ 3747682 w 4572002"/>
                <a:gd name="connsiteY333" fmla="*/ 1123185 h 6858002"/>
                <a:gd name="connsiteX334" fmla="*/ 3752064 w 4572002"/>
                <a:gd name="connsiteY334" fmla="*/ 1097087 h 6858002"/>
                <a:gd name="connsiteX335" fmla="*/ 3755684 w 4572002"/>
                <a:gd name="connsiteY335" fmla="*/ 927155 h 6858002"/>
                <a:gd name="connsiteX336" fmla="*/ 3745206 w 4572002"/>
                <a:gd name="connsiteY336" fmla="*/ 915343 h 6858002"/>
                <a:gd name="connsiteX337" fmla="*/ 3714152 w 4572002"/>
                <a:gd name="connsiteY337" fmla="*/ 854379 h 6858002"/>
                <a:gd name="connsiteX338" fmla="*/ 3761553 w 4572002"/>
                <a:gd name="connsiteY338" fmla="*/ 517851 h 6858002"/>
                <a:gd name="connsiteX339" fmla="*/ 3752635 w 4572002"/>
                <a:gd name="connsiteY339" fmla="*/ 556048 h 6858002"/>
                <a:gd name="connsiteX340" fmla="*/ 3746157 w 4572002"/>
                <a:gd name="connsiteY340" fmla="*/ 580051 h 6858002"/>
                <a:gd name="connsiteX341" fmla="*/ 3742776 w 4572002"/>
                <a:gd name="connsiteY341" fmla="*/ 642538 h 6858002"/>
                <a:gd name="connsiteX342" fmla="*/ 3730253 w 4572002"/>
                <a:gd name="connsiteY342" fmla="*/ 694928 h 6858002"/>
                <a:gd name="connsiteX343" fmla="*/ 3742777 w 4572002"/>
                <a:gd name="connsiteY343" fmla="*/ 642537 h 6858002"/>
                <a:gd name="connsiteX344" fmla="*/ 3746158 w 4572002"/>
                <a:gd name="connsiteY344" fmla="*/ 580050 h 6858002"/>
                <a:gd name="connsiteX345" fmla="*/ 3752636 w 4572002"/>
                <a:gd name="connsiteY345" fmla="*/ 556047 h 6858002"/>
                <a:gd name="connsiteX346" fmla="*/ 3774848 w 4572002"/>
                <a:gd name="connsiteY346" fmla="*/ 298169 h 6858002"/>
                <a:gd name="connsiteX347" fmla="*/ 3760065 w 4572002"/>
                <a:gd name="connsiteY347" fmla="*/ 313534 h 6858002"/>
                <a:gd name="connsiteX348" fmla="*/ 3759493 w 4572002"/>
                <a:gd name="connsiteY348" fmla="*/ 338871 h 6858002"/>
                <a:gd name="connsiteX349" fmla="*/ 3759500 w 4572002"/>
                <a:gd name="connsiteY349" fmla="*/ 338900 h 6858002"/>
                <a:gd name="connsiteX350" fmla="*/ 3769400 w 4572002"/>
                <a:gd name="connsiteY350" fmla="*/ 395640 h 6858002"/>
                <a:gd name="connsiteX351" fmla="*/ 3765590 w 4572002"/>
                <a:gd name="connsiteY351" fmla="*/ 367328 h 6858002"/>
                <a:gd name="connsiteX352" fmla="*/ 3759500 w 4572002"/>
                <a:gd name="connsiteY352" fmla="*/ 338900 h 6858002"/>
                <a:gd name="connsiteX353" fmla="*/ 3759494 w 4572002"/>
                <a:gd name="connsiteY353" fmla="*/ 338870 h 6858002"/>
                <a:gd name="connsiteX354" fmla="*/ 3760066 w 4572002"/>
                <a:gd name="connsiteY354" fmla="*/ 313533 h 6858002"/>
                <a:gd name="connsiteX355" fmla="*/ 3782393 w 4572002"/>
                <a:gd name="connsiteY355" fmla="*/ 281568 h 6858002"/>
                <a:gd name="connsiteX356" fmla="*/ 3777498 w 4572002"/>
                <a:gd name="connsiteY356" fmla="*/ 295415 h 6858002"/>
                <a:gd name="connsiteX357" fmla="*/ 3777499 w 4572002"/>
                <a:gd name="connsiteY357" fmla="*/ 295415 h 6858002"/>
                <a:gd name="connsiteX358" fmla="*/ 3769073 w 4572002"/>
                <a:gd name="connsiteY358" fmla="*/ 24486 h 6858002"/>
                <a:gd name="connsiteX359" fmla="*/ 3766810 w 4572002"/>
                <a:gd name="connsiteY359" fmla="*/ 74129 h 6858002"/>
                <a:gd name="connsiteX360" fmla="*/ 3772734 w 4572002"/>
                <a:gd name="connsiteY360" fmla="*/ 125861 h 6858002"/>
                <a:gd name="connsiteX361" fmla="*/ 3777129 w 4572002"/>
                <a:gd name="connsiteY361" fmla="*/ 153387 h 6858002"/>
                <a:gd name="connsiteX362" fmla="*/ 3785402 w 4572002"/>
                <a:gd name="connsiteY362" fmla="*/ 228944 h 6858002"/>
                <a:gd name="connsiteX363" fmla="*/ 3780943 w 4572002"/>
                <a:gd name="connsiteY363" fmla="*/ 177271 h 6858002"/>
                <a:gd name="connsiteX364" fmla="*/ 3777129 w 4572002"/>
                <a:gd name="connsiteY364" fmla="*/ 153387 h 6858002"/>
                <a:gd name="connsiteX365" fmla="*/ 3776930 w 4572002"/>
                <a:gd name="connsiteY365" fmla="*/ 151569 h 6858002"/>
                <a:gd name="connsiteX366" fmla="*/ 3766811 w 4572002"/>
                <a:gd name="connsiteY366" fmla="*/ 74129 h 6858002"/>
                <a:gd name="connsiteX367" fmla="*/ 3766492 w 4572002"/>
                <a:gd name="connsiteY367" fmla="*/ 0 h 6858002"/>
                <a:gd name="connsiteX368" fmla="*/ 4230600 w 4572002"/>
                <a:gd name="connsiteY368" fmla="*/ 0 h 6858002"/>
                <a:gd name="connsiteX369" fmla="*/ 4229473 w 4572002"/>
                <a:gd name="connsiteY369" fmla="*/ 2817 h 6858002"/>
                <a:gd name="connsiteX370" fmla="*/ 4215375 w 4572002"/>
                <a:gd name="connsiteY370" fmla="*/ 63587 h 6858002"/>
                <a:gd name="connsiteX371" fmla="*/ 4201468 w 4572002"/>
                <a:gd name="connsiteY371" fmla="*/ 176939 h 6858002"/>
                <a:gd name="connsiteX372" fmla="*/ 4193466 w 4572002"/>
                <a:gd name="connsiteY372" fmla="*/ 200182 h 6858002"/>
                <a:gd name="connsiteX373" fmla="*/ 4155554 w 4572002"/>
                <a:gd name="connsiteY373" fmla="*/ 340774 h 6858002"/>
                <a:gd name="connsiteX374" fmla="*/ 4156319 w 4572002"/>
                <a:gd name="connsiteY374" fmla="*/ 453364 h 6858002"/>
                <a:gd name="connsiteX375" fmla="*/ 4158033 w 4572002"/>
                <a:gd name="connsiteY375" fmla="*/ 462126 h 6858002"/>
                <a:gd name="connsiteX376" fmla="*/ 4170605 w 4572002"/>
                <a:gd name="connsiteY376" fmla="*/ 505182 h 6858002"/>
                <a:gd name="connsiteX377" fmla="*/ 4167177 w 4572002"/>
                <a:gd name="connsiteY377" fmla="*/ 571860 h 6858002"/>
                <a:gd name="connsiteX378" fmla="*/ 4149840 w 4572002"/>
                <a:gd name="connsiteY378" fmla="*/ 617772 h 6858002"/>
                <a:gd name="connsiteX379" fmla="*/ 4149078 w 4572002"/>
                <a:gd name="connsiteY379" fmla="*/ 674923 h 6858002"/>
                <a:gd name="connsiteX380" fmla="*/ 4159937 w 4572002"/>
                <a:gd name="connsiteY380" fmla="*/ 740268 h 6858002"/>
                <a:gd name="connsiteX381" fmla="*/ 4162223 w 4572002"/>
                <a:gd name="connsiteY381" fmla="*/ 769605 h 6858002"/>
                <a:gd name="connsiteX382" fmla="*/ 4184703 w 4572002"/>
                <a:gd name="connsiteY382" fmla="*/ 850189 h 6858002"/>
                <a:gd name="connsiteX383" fmla="*/ 4179179 w 4572002"/>
                <a:gd name="connsiteY383" fmla="*/ 898198 h 6858002"/>
                <a:gd name="connsiteX384" fmla="*/ 4164319 w 4572002"/>
                <a:gd name="connsiteY384" fmla="*/ 945444 h 6858002"/>
                <a:gd name="connsiteX385" fmla="*/ 4150030 w 4572002"/>
                <a:gd name="connsiteY385" fmla="*/ 975733 h 6858002"/>
                <a:gd name="connsiteX386" fmla="*/ 4139934 w 4572002"/>
                <a:gd name="connsiteY386" fmla="*/ 1036887 h 6858002"/>
                <a:gd name="connsiteX387" fmla="*/ 4141458 w 4572002"/>
                <a:gd name="connsiteY387" fmla="*/ 1048125 h 6858002"/>
                <a:gd name="connsiteX388" fmla="*/ 4154032 w 4572002"/>
                <a:gd name="connsiteY388" fmla="*/ 1230633 h 6858002"/>
                <a:gd name="connsiteX389" fmla="*/ 4174225 w 4572002"/>
                <a:gd name="connsiteY389" fmla="*/ 1303024 h 6858002"/>
                <a:gd name="connsiteX390" fmla="*/ 4176701 w 4572002"/>
                <a:gd name="connsiteY390" fmla="*/ 1318456 h 6858002"/>
                <a:gd name="connsiteX391" fmla="*/ 4199372 w 4572002"/>
                <a:gd name="connsiteY391" fmla="*/ 1472575 h 6858002"/>
                <a:gd name="connsiteX392" fmla="*/ 4200325 w 4572002"/>
                <a:gd name="connsiteY392" fmla="*/ 1489720 h 6858002"/>
                <a:gd name="connsiteX393" fmla="*/ 4196324 w 4572002"/>
                <a:gd name="connsiteY393" fmla="*/ 1537537 h 6858002"/>
                <a:gd name="connsiteX394" fmla="*/ 4237474 w 4572002"/>
                <a:gd name="connsiteY394" fmla="*/ 1650317 h 6858002"/>
                <a:gd name="connsiteX395" fmla="*/ 4251572 w 4572002"/>
                <a:gd name="connsiteY395" fmla="*/ 1763287 h 6858002"/>
                <a:gd name="connsiteX396" fmla="*/ 4251380 w 4572002"/>
                <a:gd name="connsiteY396" fmla="*/ 1825393 h 6858002"/>
                <a:gd name="connsiteX397" fmla="*/ 4261478 w 4572002"/>
                <a:gd name="connsiteY397" fmla="*/ 1869780 h 6858002"/>
                <a:gd name="connsiteX398" fmla="*/ 4292149 w 4572002"/>
                <a:gd name="connsiteY398" fmla="*/ 1978940 h 6858002"/>
                <a:gd name="connsiteX399" fmla="*/ 4296911 w 4572002"/>
                <a:gd name="connsiteY399" fmla="*/ 2030378 h 6858002"/>
                <a:gd name="connsiteX400" fmla="*/ 4307201 w 4572002"/>
                <a:gd name="connsiteY400" fmla="*/ 2085054 h 6858002"/>
                <a:gd name="connsiteX401" fmla="*/ 4353302 w 4572002"/>
                <a:gd name="connsiteY401" fmla="*/ 2220312 h 6858002"/>
                <a:gd name="connsiteX402" fmla="*/ 4350636 w 4572002"/>
                <a:gd name="connsiteY402" fmla="*/ 2330806 h 6858002"/>
                <a:gd name="connsiteX403" fmla="*/ 4351206 w 4572002"/>
                <a:gd name="connsiteY403" fmla="*/ 2401292 h 6858002"/>
                <a:gd name="connsiteX404" fmla="*/ 4366446 w 4572002"/>
                <a:gd name="connsiteY404" fmla="*/ 2485307 h 6858002"/>
                <a:gd name="connsiteX405" fmla="*/ 4388736 w 4572002"/>
                <a:gd name="connsiteY405" fmla="*/ 2554079 h 6858002"/>
                <a:gd name="connsiteX406" fmla="*/ 4406453 w 4572002"/>
                <a:gd name="connsiteY406" fmla="*/ 2649143 h 6858002"/>
                <a:gd name="connsiteX407" fmla="*/ 4440554 w 4572002"/>
                <a:gd name="connsiteY407" fmla="*/ 2743826 h 6858002"/>
                <a:gd name="connsiteX408" fmla="*/ 4466653 w 4572002"/>
                <a:gd name="connsiteY408" fmla="*/ 2809930 h 6858002"/>
                <a:gd name="connsiteX409" fmla="*/ 4489705 w 4572002"/>
                <a:gd name="connsiteY409" fmla="*/ 2901943 h 6858002"/>
                <a:gd name="connsiteX410" fmla="*/ 4505897 w 4572002"/>
                <a:gd name="connsiteY410" fmla="*/ 3042728 h 6858002"/>
                <a:gd name="connsiteX411" fmla="*/ 4507613 w 4572002"/>
                <a:gd name="connsiteY411" fmla="*/ 3107500 h 6858002"/>
                <a:gd name="connsiteX412" fmla="*/ 4545521 w 4572002"/>
                <a:gd name="connsiteY412" fmla="*/ 3209993 h 6858002"/>
                <a:gd name="connsiteX413" fmla="*/ 4563811 w 4572002"/>
                <a:gd name="connsiteY413" fmla="*/ 3253809 h 6858002"/>
                <a:gd name="connsiteX414" fmla="*/ 4548570 w 4572002"/>
                <a:gd name="connsiteY414" fmla="*/ 3293244 h 6858002"/>
                <a:gd name="connsiteX415" fmla="*/ 4531043 w 4572002"/>
                <a:gd name="connsiteY415" fmla="*/ 3318771 h 6858002"/>
                <a:gd name="connsiteX416" fmla="*/ 4545904 w 4572002"/>
                <a:gd name="connsiteY416" fmla="*/ 3399546 h 6858002"/>
                <a:gd name="connsiteX417" fmla="*/ 4561524 w 4572002"/>
                <a:gd name="connsiteY417" fmla="*/ 3485275 h 6858002"/>
                <a:gd name="connsiteX418" fmla="*/ 4572002 w 4572002"/>
                <a:gd name="connsiteY418" fmla="*/ 3546617 h 6858002"/>
                <a:gd name="connsiteX419" fmla="*/ 4563620 w 4572002"/>
                <a:gd name="connsiteY419" fmla="*/ 3623201 h 6858002"/>
                <a:gd name="connsiteX420" fmla="*/ 4560192 w 4572002"/>
                <a:gd name="connsiteY420" fmla="*/ 3683591 h 6858002"/>
                <a:gd name="connsiteX421" fmla="*/ 4550476 w 4572002"/>
                <a:gd name="connsiteY421" fmla="*/ 3732361 h 6858002"/>
                <a:gd name="connsiteX422" fmla="*/ 4544759 w 4572002"/>
                <a:gd name="connsiteY422" fmla="*/ 3749506 h 6858002"/>
                <a:gd name="connsiteX423" fmla="*/ 4500182 w 4572002"/>
                <a:gd name="connsiteY423" fmla="*/ 3885338 h 6858002"/>
                <a:gd name="connsiteX424" fmla="*/ 4464557 w 4572002"/>
                <a:gd name="connsiteY424" fmla="*/ 4030503 h 6858002"/>
                <a:gd name="connsiteX425" fmla="*/ 4487039 w 4572002"/>
                <a:gd name="connsiteY425" fmla="*/ 4124614 h 6858002"/>
                <a:gd name="connsiteX426" fmla="*/ 4486656 w 4572002"/>
                <a:gd name="connsiteY426" fmla="*/ 4159667 h 6858002"/>
                <a:gd name="connsiteX427" fmla="*/ 4491801 w 4572002"/>
                <a:gd name="connsiteY427" fmla="*/ 4320837 h 6858002"/>
                <a:gd name="connsiteX428" fmla="*/ 4497325 w 4572002"/>
                <a:gd name="connsiteY428" fmla="*/ 4349222 h 6858002"/>
                <a:gd name="connsiteX429" fmla="*/ 4474653 w 4572002"/>
                <a:gd name="connsiteY429" fmla="*/ 4502579 h 6858002"/>
                <a:gd name="connsiteX430" fmla="*/ 4470844 w 4572002"/>
                <a:gd name="connsiteY430" fmla="*/ 4558207 h 6858002"/>
                <a:gd name="connsiteX431" fmla="*/ 4464557 w 4572002"/>
                <a:gd name="connsiteY431" fmla="*/ 4609452 h 6858002"/>
                <a:gd name="connsiteX432" fmla="*/ 4463033 w 4572002"/>
                <a:gd name="connsiteY432" fmla="*/ 4681083 h 6858002"/>
                <a:gd name="connsiteX433" fmla="*/ 4465891 w 4572002"/>
                <a:gd name="connsiteY433" fmla="*/ 4755381 h 6858002"/>
                <a:gd name="connsiteX434" fmla="*/ 4465319 w 4572002"/>
                <a:gd name="connsiteY434" fmla="*/ 4838250 h 6858002"/>
                <a:gd name="connsiteX435" fmla="*/ 4460367 w 4572002"/>
                <a:gd name="connsiteY435" fmla="*/ 4871019 h 6858002"/>
                <a:gd name="connsiteX436" fmla="*/ 4463795 w 4572002"/>
                <a:gd name="connsiteY436" fmla="*/ 4959602 h 6858002"/>
                <a:gd name="connsiteX437" fmla="*/ 4458082 w 4572002"/>
                <a:gd name="connsiteY437" fmla="*/ 5006086 h 6858002"/>
                <a:gd name="connsiteX438" fmla="*/ 4456937 w 4572002"/>
                <a:gd name="connsiteY438" fmla="*/ 5082670 h 6858002"/>
                <a:gd name="connsiteX439" fmla="*/ 4455603 w 4572002"/>
                <a:gd name="connsiteY439" fmla="*/ 5107627 h 6858002"/>
                <a:gd name="connsiteX440" fmla="*/ 4454840 w 4572002"/>
                <a:gd name="connsiteY440" fmla="*/ 5129916 h 6858002"/>
                <a:gd name="connsiteX441" fmla="*/ 4470464 w 4572002"/>
                <a:gd name="connsiteY441" fmla="*/ 5206308 h 6858002"/>
                <a:gd name="connsiteX442" fmla="*/ 4471415 w 4572002"/>
                <a:gd name="connsiteY442" fmla="*/ 5274129 h 6858002"/>
                <a:gd name="connsiteX443" fmla="*/ 4483990 w 4572002"/>
                <a:gd name="connsiteY443" fmla="*/ 5393005 h 6858002"/>
                <a:gd name="connsiteX444" fmla="*/ 4479607 w 4572002"/>
                <a:gd name="connsiteY444" fmla="*/ 5419295 h 6858002"/>
                <a:gd name="connsiteX445" fmla="*/ 4477894 w 4572002"/>
                <a:gd name="connsiteY445" fmla="*/ 5501594 h 6858002"/>
                <a:gd name="connsiteX446" fmla="*/ 4476560 w 4572002"/>
                <a:gd name="connsiteY446" fmla="*/ 5548460 h 6858002"/>
                <a:gd name="connsiteX447" fmla="*/ 4485703 w 4572002"/>
                <a:gd name="connsiteY447" fmla="*/ 5606372 h 6858002"/>
                <a:gd name="connsiteX448" fmla="*/ 4505134 w 4572002"/>
                <a:gd name="connsiteY448" fmla="*/ 5706959 h 6858002"/>
                <a:gd name="connsiteX449" fmla="*/ 4508183 w 4572002"/>
                <a:gd name="connsiteY449" fmla="*/ 5733440 h 6858002"/>
                <a:gd name="connsiteX450" fmla="*/ 4517519 w 4572002"/>
                <a:gd name="connsiteY450" fmla="*/ 5781830 h 6858002"/>
                <a:gd name="connsiteX451" fmla="*/ 4519234 w 4572002"/>
                <a:gd name="connsiteY451" fmla="*/ 5790592 h 6858002"/>
                <a:gd name="connsiteX452" fmla="*/ 4542855 w 4572002"/>
                <a:gd name="connsiteY452" fmla="*/ 5864318 h 6858002"/>
                <a:gd name="connsiteX453" fmla="*/ 4544759 w 4572002"/>
                <a:gd name="connsiteY453" fmla="*/ 5902610 h 6858002"/>
                <a:gd name="connsiteX454" fmla="*/ 4544951 w 4572002"/>
                <a:gd name="connsiteY454" fmla="*/ 6012723 h 6858002"/>
                <a:gd name="connsiteX455" fmla="*/ 4541332 w 4572002"/>
                <a:gd name="connsiteY455" fmla="*/ 6059397 h 6858002"/>
                <a:gd name="connsiteX456" fmla="*/ 4527426 w 4572002"/>
                <a:gd name="connsiteY456" fmla="*/ 6171605 h 6858002"/>
                <a:gd name="connsiteX457" fmla="*/ 4520568 w 4572002"/>
                <a:gd name="connsiteY457" fmla="*/ 6242093 h 6858002"/>
                <a:gd name="connsiteX458" fmla="*/ 4509706 w 4572002"/>
                <a:gd name="connsiteY458" fmla="*/ 6323058 h 6858002"/>
                <a:gd name="connsiteX459" fmla="*/ 4502848 w 4572002"/>
                <a:gd name="connsiteY459" fmla="*/ 6415833 h 6858002"/>
                <a:gd name="connsiteX460" fmla="*/ 4482084 w 4572002"/>
                <a:gd name="connsiteY460" fmla="*/ 6584812 h 6858002"/>
                <a:gd name="connsiteX461" fmla="*/ 4460557 w 4572002"/>
                <a:gd name="connsiteY461" fmla="*/ 6748458 h 6858002"/>
                <a:gd name="connsiteX462" fmla="*/ 4441507 w 4572002"/>
                <a:gd name="connsiteY462" fmla="*/ 6815516 h 6858002"/>
                <a:gd name="connsiteX463" fmla="*/ 4431806 w 4572002"/>
                <a:gd name="connsiteY463" fmla="*/ 6858001 h 6858002"/>
                <a:gd name="connsiteX464" fmla="*/ 4259554 w 4572002"/>
                <a:gd name="connsiteY464" fmla="*/ 6858001 h 6858002"/>
                <a:gd name="connsiteX465" fmla="*/ 4259554 w 4572002"/>
                <a:gd name="connsiteY465" fmla="*/ 6858002 h 6858002"/>
                <a:gd name="connsiteX466" fmla="*/ 0 w 4572002"/>
                <a:gd name="connsiteY466" fmla="*/ 6858002 h 6858002"/>
                <a:gd name="connsiteX467" fmla="*/ 0 w 4572002"/>
                <a:gd name="connsiteY467" fmla="*/ 2 h 6858002"/>
                <a:gd name="connsiteX468" fmla="*/ 3766492 w 4572002"/>
                <a:gd name="connsiteY468" fmla="*/ 1 h 6858002"/>
                <a:gd name="connsiteX469" fmla="*/ 3769210 w 4572002"/>
                <a:gd name="connsiteY469" fmla="*/ 21486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Lst>
              <a:rect l="l" t="t" r="r" b="b"/>
              <a:pathLst>
                <a:path w="4572002" h="6858002">
                  <a:moveTo>
                    <a:pt x="4214994" y="6564620"/>
                  </a:moveTo>
                  <a:lnTo>
                    <a:pt x="4214994" y="6564621"/>
                  </a:lnTo>
                  <a:cubicBezTo>
                    <a:pt x="4225281" y="6575479"/>
                    <a:pt x="4231378" y="6582147"/>
                    <a:pt x="4237474" y="6588626"/>
                  </a:cubicBezTo>
                  <a:lnTo>
                    <a:pt x="4254096" y="6625225"/>
                  </a:lnTo>
                  <a:lnTo>
                    <a:pt x="4247001" y="6662540"/>
                  </a:lnTo>
                  <a:lnTo>
                    <a:pt x="4247000" y="6662541"/>
                  </a:lnTo>
                  <a:lnTo>
                    <a:pt x="4246999" y="6662544"/>
                  </a:lnTo>
                  <a:lnTo>
                    <a:pt x="4235550" y="6683027"/>
                  </a:lnTo>
                  <a:lnTo>
                    <a:pt x="4232403" y="6702976"/>
                  </a:lnTo>
                  <a:lnTo>
                    <a:pt x="4232403" y="6702977"/>
                  </a:lnTo>
                  <a:cubicBezTo>
                    <a:pt x="4232808" y="6716169"/>
                    <a:pt x="4237951" y="6729219"/>
                    <a:pt x="4246238" y="6742553"/>
                  </a:cubicBezTo>
                  <a:lnTo>
                    <a:pt x="4246239" y="6742555"/>
                  </a:lnTo>
                  <a:lnTo>
                    <a:pt x="4265716" y="6812062"/>
                  </a:lnTo>
                  <a:lnTo>
                    <a:pt x="4265717" y="6812064"/>
                  </a:lnTo>
                  <a:lnTo>
                    <a:pt x="4265717" y="6812063"/>
                  </a:lnTo>
                  <a:lnTo>
                    <a:pt x="4265716" y="6812062"/>
                  </a:lnTo>
                  <a:lnTo>
                    <a:pt x="4260942" y="6776800"/>
                  </a:lnTo>
                  <a:lnTo>
                    <a:pt x="4246239" y="6742555"/>
                  </a:lnTo>
                  <a:lnTo>
                    <a:pt x="4246238" y="6742552"/>
                  </a:lnTo>
                  <a:lnTo>
                    <a:pt x="4232403" y="6702976"/>
                  </a:lnTo>
                  <a:lnTo>
                    <a:pt x="4246999" y="6662544"/>
                  </a:lnTo>
                  <a:lnTo>
                    <a:pt x="4247000" y="6662542"/>
                  </a:lnTo>
                  <a:lnTo>
                    <a:pt x="4247001" y="6662540"/>
                  </a:lnTo>
                  <a:lnTo>
                    <a:pt x="4254084" y="6645552"/>
                  </a:lnTo>
                  <a:lnTo>
                    <a:pt x="4254096" y="6625225"/>
                  </a:lnTo>
                  <a:lnTo>
                    <a:pt x="4254096" y="6625224"/>
                  </a:lnTo>
                  <a:cubicBezTo>
                    <a:pt x="4252000" y="6611341"/>
                    <a:pt x="4245951" y="6597578"/>
                    <a:pt x="4237474" y="6588625"/>
                  </a:cubicBezTo>
                  <a:close/>
                  <a:moveTo>
                    <a:pt x="4295315" y="6438981"/>
                  </a:moveTo>
                  <a:lnTo>
                    <a:pt x="4275385" y="6463840"/>
                  </a:lnTo>
                  <a:lnTo>
                    <a:pt x="4275382" y="6463849"/>
                  </a:lnTo>
                  <a:lnTo>
                    <a:pt x="4261587" y="6513012"/>
                  </a:lnTo>
                  <a:lnTo>
                    <a:pt x="4242781" y="6546194"/>
                  </a:lnTo>
                  <a:lnTo>
                    <a:pt x="4242781" y="6546195"/>
                  </a:lnTo>
                  <a:lnTo>
                    <a:pt x="4259120" y="6521804"/>
                  </a:lnTo>
                  <a:lnTo>
                    <a:pt x="4261587" y="6513012"/>
                  </a:lnTo>
                  <a:lnTo>
                    <a:pt x="4264398" y="6508052"/>
                  </a:lnTo>
                  <a:lnTo>
                    <a:pt x="4275382" y="6463849"/>
                  </a:lnTo>
                  <a:lnTo>
                    <a:pt x="4275385" y="6463841"/>
                  </a:lnTo>
                  <a:cubicBezTo>
                    <a:pt x="4278336" y="6451650"/>
                    <a:pt x="4285813" y="6444077"/>
                    <a:pt x="4295315" y="6438981"/>
                  </a:cubicBezTo>
                  <a:close/>
                  <a:moveTo>
                    <a:pt x="4381289" y="6365204"/>
                  </a:moveTo>
                  <a:lnTo>
                    <a:pt x="4380008" y="6387910"/>
                  </a:lnTo>
                  <a:lnTo>
                    <a:pt x="4378243" y="6391549"/>
                  </a:lnTo>
                  <a:lnTo>
                    <a:pt x="4370589" y="6407332"/>
                  </a:lnTo>
                  <a:lnTo>
                    <a:pt x="4370589" y="6407333"/>
                  </a:lnTo>
                  <a:lnTo>
                    <a:pt x="4378243" y="6391549"/>
                  </a:lnTo>
                  <a:lnTo>
                    <a:pt x="4380008" y="6387910"/>
                  </a:lnTo>
                  <a:close/>
                  <a:moveTo>
                    <a:pt x="4142220" y="4221391"/>
                  </a:moveTo>
                  <a:lnTo>
                    <a:pt x="4142220" y="4221392"/>
                  </a:lnTo>
                  <a:cubicBezTo>
                    <a:pt x="4142982" y="4232061"/>
                    <a:pt x="4143172" y="4243873"/>
                    <a:pt x="4147936" y="4253015"/>
                  </a:cubicBezTo>
                  <a:cubicBezTo>
                    <a:pt x="4160129" y="4277402"/>
                    <a:pt x="4175749" y="4300071"/>
                    <a:pt x="4187752" y="4324646"/>
                  </a:cubicBezTo>
                  <a:lnTo>
                    <a:pt x="4196706" y="4363891"/>
                  </a:lnTo>
                  <a:lnTo>
                    <a:pt x="4195944" y="4482004"/>
                  </a:lnTo>
                  <a:cubicBezTo>
                    <a:pt x="4193276" y="4546776"/>
                    <a:pt x="4192704" y="4612500"/>
                    <a:pt x="4135934" y="4659174"/>
                  </a:cubicBezTo>
                  <a:cubicBezTo>
                    <a:pt x="4131362" y="4662986"/>
                    <a:pt x="4128694" y="4671176"/>
                    <a:pt x="4127932" y="4677655"/>
                  </a:cubicBezTo>
                  <a:cubicBezTo>
                    <a:pt x="4124313" y="4707564"/>
                    <a:pt x="4123931" y="4738235"/>
                    <a:pt x="4118025" y="4767764"/>
                  </a:cubicBezTo>
                  <a:cubicBezTo>
                    <a:pt x="4115644" y="4779575"/>
                    <a:pt x="4114835" y="4790387"/>
                    <a:pt x="4116716" y="4800483"/>
                  </a:cubicBezTo>
                  <a:lnTo>
                    <a:pt x="4116716" y="4800484"/>
                  </a:lnTo>
                  <a:cubicBezTo>
                    <a:pt x="4118597" y="4810581"/>
                    <a:pt x="4123170" y="4819964"/>
                    <a:pt x="4131552" y="4828917"/>
                  </a:cubicBezTo>
                  <a:lnTo>
                    <a:pt x="4153733" y="4863343"/>
                  </a:lnTo>
                  <a:lnTo>
                    <a:pt x="4161262" y="4889275"/>
                  </a:lnTo>
                  <a:lnTo>
                    <a:pt x="4159557" y="4912168"/>
                  </a:lnTo>
                  <a:cubicBezTo>
                    <a:pt x="4157842" y="4919978"/>
                    <a:pt x="4157485" y="4927122"/>
                    <a:pt x="4158155" y="4933804"/>
                  </a:cubicBezTo>
                  <a:lnTo>
                    <a:pt x="4158155" y="4933805"/>
                  </a:lnTo>
                  <a:lnTo>
                    <a:pt x="4162914" y="4952673"/>
                  </a:lnTo>
                  <a:lnTo>
                    <a:pt x="4165707" y="4957454"/>
                  </a:lnTo>
                  <a:lnTo>
                    <a:pt x="4166985" y="4961456"/>
                  </a:lnTo>
                  <a:cubicBezTo>
                    <a:pt x="4171496" y="4970097"/>
                    <a:pt x="4177202" y="4978394"/>
                    <a:pt x="4182989" y="4987038"/>
                  </a:cubicBezTo>
                  <a:cubicBezTo>
                    <a:pt x="4194228" y="5003802"/>
                    <a:pt x="4208326" y="5022853"/>
                    <a:pt x="4209468" y="5041522"/>
                  </a:cubicBezTo>
                  <a:cubicBezTo>
                    <a:pt x="4210087" y="5052096"/>
                    <a:pt x="4213005" y="5062300"/>
                    <a:pt x="4216684" y="5072376"/>
                  </a:cubicBezTo>
                  <a:lnTo>
                    <a:pt x="4222587" y="5087441"/>
                  </a:lnTo>
                  <a:lnTo>
                    <a:pt x="4235615" y="5133220"/>
                  </a:lnTo>
                  <a:lnTo>
                    <a:pt x="4235616" y="5133225"/>
                  </a:lnTo>
                  <a:lnTo>
                    <a:pt x="4228901" y="5166113"/>
                  </a:lnTo>
                  <a:lnTo>
                    <a:pt x="4228901" y="5166114"/>
                  </a:lnTo>
                  <a:cubicBezTo>
                    <a:pt x="4228139" y="5167638"/>
                    <a:pt x="4228712" y="5169781"/>
                    <a:pt x="4229593" y="5172091"/>
                  </a:cubicBezTo>
                  <a:lnTo>
                    <a:pt x="4232139" y="5179068"/>
                  </a:lnTo>
                  <a:cubicBezTo>
                    <a:pt x="4235759" y="5196595"/>
                    <a:pt x="4235807" y="5213598"/>
                    <a:pt x="4231973" y="5229434"/>
                  </a:cubicBezTo>
                  <a:lnTo>
                    <a:pt x="4225669" y="5241089"/>
                  </a:lnTo>
                  <a:lnTo>
                    <a:pt x="4208517" y="5272796"/>
                  </a:lnTo>
                  <a:cubicBezTo>
                    <a:pt x="4196871" y="5285441"/>
                    <a:pt x="4189165" y="5298595"/>
                    <a:pt x="4184613" y="5312288"/>
                  </a:cubicBezTo>
                  <a:lnTo>
                    <a:pt x="4183557" y="5321350"/>
                  </a:lnTo>
                  <a:lnTo>
                    <a:pt x="4181083" y="5326163"/>
                  </a:lnTo>
                  <a:lnTo>
                    <a:pt x="4179637" y="5355014"/>
                  </a:lnTo>
                  <a:lnTo>
                    <a:pt x="4179637" y="5355015"/>
                  </a:lnTo>
                  <a:cubicBezTo>
                    <a:pt x="4180286" y="5364883"/>
                    <a:pt x="4181989" y="5375003"/>
                    <a:pt x="4184513" y="5385385"/>
                  </a:cubicBezTo>
                  <a:cubicBezTo>
                    <a:pt x="4187752" y="5398722"/>
                    <a:pt x="4190038" y="5412058"/>
                    <a:pt x="4192704" y="5425583"/>
                  </a:cubicBezTo>
                  <a:cubicBezTo>
                    <a:pt x="4196514" y="5443871"/>
                    <a:pt x="4200516" y="5462352"/>
                    <a:pt x="4204327" y="5480638"/>
                  </a:cubicBezTo>
                  <a:lnTo>
                    <a:pt x="4208850" y="5507668"/>
                  </a:lnTo>
                  <a:lnTo>
                    <a:pt x="4198232" y="5531692"/>
                  </a:lnTo>
                  <a:lnTo>
                    <a:pt x="4198231" y="5531693"/>
                  </a:lnTo>
                  <a:cubicBezTo>
                    <a:pt x="4191181" y="5537600"/>
                    <a:pt x="4187989" y="5542649"/>
                    <a:pt x="4188085" y="5547578"/>
                  </a:cubicBezTo>
                  <a:lnTo>
                    <a:pt x="4188085" y="5547579"/>
                  </a:lnTo>
                  <a:cubicBezTo>
                    <a:pt x="4188180" y="5552508"/>
                    <a:pt x="4191562" y="5557318"/>
                    <a:pt x="4197659" y="5562747"/>
                  </a:cubicBezTo>
                  <a:cubicBezTo>
                    <a:pt x="4240332" y="5600468"/>
                    <a:pt x="4267003" y="5646190"/>
                    <a:pt x="4268907" y="5704484"/>
                  </a:cubicBezTo>
                  <a:cubicBezTo>
                    <a:pt x="4269289" y="5716486"/>
                    <a:pt x="4271954" y="5728679"/>
                    <a:pt x="4274812" y="5740489"/>
                  </a:cubicBezTo>
                  <a:cubicBezTo>
                    <a:pt x="4276527" y="5747729"/>
                    <a:pt x="4278433" y="5756494"/>
                    <a:pt x="4283578" y="5760874"/>
                  </a:cubicBezTo>
                  <a:cubicBezTo>
                    <a:pt x="4322821" y="5794975"/>
                    <a:pt x="4350063" y="5837458"/>
                    <a:pt x="4371973" y="5883752"/>
                  </a:cubicBezTo>
                  <a:lnTo>
                    <a:pt x="4371974" y="5883757"/>
                  </a:lnTo>
                  <a:lnTo>
                    <a:pt x="4389877" y="5935946"/>
                  </a:lnTo>
                  <a:lnTo>
                    <a:pt x="4389878" y="5935950"/>
                  </a:lnTo>
                  <a:lnTo>
                    <a:pt x="4386259" y="5993290"/>
                  </a:lnTo>
                  <a:lnTo>
                    <a:pt x="4386259" y="5993291"/>
                  </a:lnTo>
                  <a:cubicBezTo>
                    <a:pt x="4385116" y="6004531"/>
                    <a:pt x="4385306" y="6017485"/>
                    <a:pt x="4379782" y="6026440"/>
                  </a:cubicBezTo>
                  <a:cubicBezTo>
                    <a:pt x="4362445" y="6054825"/>
                    <a:pt x="4343778" y="6082258"/>
                    <a:pt x="4323583" y="6108738"/>
                  </a:cubicBezTo>
                  <a:cubicBezTo>
                    <a:pt x="4314914" y="6120074"/>
                    <a:pt x="4309961" y="6126884"/>
                    <a:pt x="4309890" y="6133314"/>
                  </a:cubicBezTo>
                  <a:lnTo>
                    <a:pt x="4309890" y="6133315"/>
                  </a:lnTo>
                  <a:lnTo>
                    <a:pt x="4313591" y="6143190"/>
                  </a:lnTo>
                  <a:lnTo>
                    <a:pt x="4325486" y="6155600"/>
                  </a:lnTo>
                  <a:lnTo>
                    <a:pt x="4325488" y="6155603"/>
                  </a:lnTo>
                  <a:cubicBezTo>
                    <a:pt x="4347778" y="6175798"/>
                    <a:pt x="4359398" y="6200945"/>
                    <a:pt x="4364160" y="6228757"/>
                  </a:cubicBezTo>
                  <a:lnTo>
                    <a:pt x="4381497" y="6361540"/>
                  </a:lnTo>
                  <a:lnTo>
                    <a:pt x="4381497" y="6361539"/>
                  </a:lnTo>
                  <a:cubicBezTo>
                    <a:pt x="4377877" y="6317151"/>
                    <a:pt x="4371590" y="6272764"/>
                    <a:pt x="4364160" y="6228756"/>
                  </a:cubicBezTo>
                  <a:cubicBezTo>
                    <a:pt x="4359398" y="6200944"/>
                    <a:pt x="4347778" y="6175797"/>
                    <a:pt x="4325488" y="6155602"/>
                  </a:cubicBezTo>
                  <a:lnTo>
                    <a:pt x="4325486" y="6155600"/>
                  </a:lnTo>
                  <a:lnTo>
                    <a:pt x="4309890" y="6133315"/>
                  </a:lnTo>
                  <a:lnTo>
                    <a:pt x="4323583" y="6108739"/>
                  </a:lnTo>
                  <a:cubicBezTo>
                    <a:pt x="4343778" y="6082259"/>
                    <a:pt x="4362445" y="6054826"/>
                    <a:pt x="4379782" y="6026441"/>
                  </a:cubicBezTo>
                  <a:cubicBezTo>
                    <a:pt x="4385306" y="6017486"/>
                    <a:pt x="4385116" y="6004532"/>
                    <a:pt x="4386259" y="5993292"/>
                  </a:cubicBezTo>
                  <a:lnTo>
                    <a:pt x="4386259" y="5993290"/>
                  </a:lnTo>
                  <a:lnTo>
                    <a:pt x="4389712" y="5964477"/>
                  </a:lnTo>
                  <a:lnTo>
                    <a:pt x="4389878" y="5935950"/>
                  </a:lnTo>
                  <a:lnTo>
                    <a:pt x="4389878" y="5935949"/>
                  </a:lnTo>
                  <a:lnTo>
                    <a:pt x="4389877" y="5935946"/>
                  </a:lnTo>
                  <a:lnTo>
                    <a:pt x="4382997" y="5909351"/>
                  </a:lnTo>
                  <a:lnTo>
                    <a:pt x="4371974" y="5883757"/>
                  </a:lnTo>
                  <a:lnTo>
                    <a:pt x="4371973" y="5883751"/>
                  </a:lnTo>
                  <a:cubicBezTo>
                    <a:pt x="4350063" y="5837457"/>
                    <a:pt x="4322821" y="5794974"/>
                    <a:pt x="4283578" y="5760873"/>
                  </a:cubicBezTo>
                  <a:cubicBezTo>
                    <a:pt x="4278433" y="5756493"/>
                    <a:pt x="4276527" y="5747728"/>
                    <a:pt x="4274812" y="5740488"/>
                  </a:cubicBezTo>
                  <a:cubicBezTo>
                    <a:pt x="4271954" y="5728678"/>
                    <a:pt x="4269289" y="5716485"/>
                    <a:pt x="4268907" y="5704483"/>
                  </a:cubicBezTo>
                  <a:cubicBezTo>
                    <a:pt x="4267003" y="5646189"/>
                    <a:pt x="4240332" y="5600467"/>
                    <a:pt x="4197659" y="5562746"/>
                  </a:cubicBezTo>
                  <a:lnTo>
                    <a:pt x="4188085" y="5547578"/>
                  </a:lnTo>
                  <a:lnTo>
                    <a:pt x="4198231" y="5531694"/>
                  </a:lnTo>
                  <a:lnTo>
                    <a:pt x="4198232" y="5531692"/>
                  </a:lnTo>
                  <a:lnTo>
                    <a:pt x="4206630" y="5520422"/>
                  </a:lnTo>
                  <a:lnTo>
                    <a:pt x="4208850" y="5507668"/>
                  </a:lnTo>
                  <a:lnTo>
                    <a:pt x="4208850" y="5507667"/>
                  </a:lnTo>
                  <a:cubicBezTo>
                    <a:pt x="4208803" y="5498832"/>
                    <a:pt x="4206231" y="5489497"/>
                    <a:pt x="4204327" y="5480637"/>
                  </a:cubicBezTo>
                  <a:cubicBezTo>
                    <a:pt x="4200516" y="5462351"/>
                    <a:pt x="4196514" y="5443870"/>
                    <a:pt x="4192704" y="5425582"/>
                  </a:cubicBezTo>
                  <a:cubicBezTo>
                    <a:pt x="4190038" y="5412057"/>
                    <a:pt x="4187752" y="5398721"/>
                    <a:pt x="4184513" y="5385384"/>
                  </a:cubicBezTo>
                  <a:lnTo>
                    <a:pt x="4179637" y="5355014"/>
                  </a:lnTo>
                  <a:lnTo>
                    <a:pt x="4183557" y="5321350"/>
                  </a:lnTo>
                  <a:lnTo>
                    <a:pt x="4208517" y="5272797"/>
                  </a:lnTo>
                  <a:lnTo>
                    <a:pt x="4225669" y="5241089"/>
                  </a:lnTo>
                  <a:lnTo>
                    <a:pt x="4231973" y="5229433"/>
                  </a:lnTo>
                  <a:lnTo>
                    <a:pt x="4232139" y="5179068"/>
                  </a:lnTo>
                  <a:lnTo>
                    <a:pt x="4232139" y="5179067"/>
                  </a:lnTo>
                  <a:cubicBezTo>
                    <a:pt x="4231663" y="5176876"/>
                    <a:pt x="4230473" y="5174400"/>
                    <a:pt x="4229593" y="5172090"/>
                  </a:cubicBezTo>
                  <a:lnTo>
                    <a:pt x="4228901" y="5166114"/>
                  </a:lnTo>
                  <a:lnTo>
                    <a:pt x="4235616" y="5133225"/>
                  </a:lnTo>
                  <a:lnTo>
                    <a:pt x="4235616" y="5133224"/>
                  </a:lnTo>
                  <a:lnTo>
                    <a:pt x="4235615" y="5133220"/>
                  </a:lnTo>
                  <a:lnTo>
                    <a:pt x="4228473" y="5102461"/>
                  </a:lnTo>
                  <a:lnTo>
                    <a:pt x="4222587" y="5087441"/>
                  </a:lnTo>
                  <a:lnTo>
                    <a:pt x="4222582" y="5087423"/>
                  </a:lnTo>
                  <a:cubicBezTo>
                    <a:pt x="4216496" y="5072411"/>
                    <a:pt x="4210397" y="5057381"/>
                    <a:pt x="4209468" y="5041521"/>
                  </a:cubicBezTo>
                  <a:cubicBezTo>
                    <a:pt x="4208326" y="5022852"/>
                    <a:pt x="4194228" y="5003801"/>
                    <a:pt x="4182989" y="4987037"/>
                  </a:cubicBezTo>
                  <a:lnTo>
                    <a:pt x="4165707" y="4957454"/>
                  </a:lnTo>
                  <a:lnTo>
                    <a:pt x="4158155" y="4933805"/>
                  </a:lnTo>
                  <a:lnTo>
                    <a:pt x="4159557" y="4912169"/>
                  </a:lnTo>
                  <a:cubicBezTo>
                    <a:pt x="4161319" y="4904358"/>
                    <a:pt x="4161831" y="4896714"/>
                    <a:pt x="4161262" y="4889276"/>
                  </a:cubicBezTo>
                  <a:lnTo>
                    <a:pt x="4161262" y="4889275"/>
                  </a:lnTo>
                  <a:lnTo>
                    <a:pt x="4156484" y="4867614"/>
                  </a:lnTo>
                  <a:lnTo>
                    <a:pt x="4153733" y="4863343"/>
                  </a:lnTo>
                  <a:lnTo>
                    <a:pt x="4151983" y="4857317"/>
                  </a:lnTo>
                  <a:cubicBezTo>
                    <a:pt x="4146840" y="4847214"/>
                    <a:pt x="4139839" y="4837703"/>
                    <a:pt x="4131552" y="4828916"/>
                  </a:cubicBezTo>
                  <a:lnTo>
                    <a:pt x="4116716" y="4800483"/>
                  </a:lnTo>
                  <a:lnTo>
                    <a:pt x="4118025" y="4767765"/>
                  </a:lnTo>
                  <a:cubicBezTo>
                    <a:pt x="4123931" y="4738236"/>
                    <a:pt x="4124313" y="4707565"/>
                    <a:pt x="4127932" y="4677656"/>
                  </a:cubicBezTo>
                  <a:cubicBezTo>
                    <a:pt x="4128694" y="4671177"/>
                    <a:pt x="4131362" y="4662987"/>
                    <a:pt x="4135934" y="4659175"/>
                  </a:cubicBezTo>
                  <a:cubicBezTo>
                    <a:pt x="4192704" y="4612501"/>
                    <a:pt x="4193276" y="4546777"/>
                    <a:pt x="4195944" y="4482005"/>
                  </a:cubicBezTo>
                  <a:cubicBezTo>
                    <a:pt x="4197659" y="4442762"/>
                    <a:pt x="4197659" y="4403326"/>
                    <a:pt x="4196706" y="4363891"/>
                  </a:cubicBezTo>
                  <a:lnTo>
                    <a:pt x="4196706" y="4363890"/>
                  </a:lnTo>
                  <a:cubicBezTo>
                    <a:pt x="4196514" y="4350554"/>
                    <a:pt x="4193466" y="4336457"/>
                    <a:pt x="4187752" y="4324645"/>
                  </a:cubicBezTo>
                  <a:cubicBezTo>
                    <a:pt x="4175749" y="4300070"/>
                    <a:pt x="4160129" y="4277401"/>
                    <a:pt x="4147936" y="4253014"/>
                  </a:cubicBezTo>
                  <a:close/>
                  <a:moveTo>
                    <a:pt x="4211111" y="2836172"/>
                  </a:moveTo>
                  <a:lnTo>
                    <a:pt x="4202421" y="2848793"/>
                  </a:lnTo>
                  <a:cubicBezTo>
                    <a:pt x="4197421" y="2865010"/>
                    <a:pt x="4191562" y="2881307"/>
                    <a:pt x="4186816" y="2897785"/>
                  </a:cubicBezTo>
                  <a:lnTo>
                    <a:pt x="4185787" y="2903551"/>
                  </a:lnTo>
                  <a:lnTo>
                    <a:pt x="4182513" y="2914328"/>
                  </a:lnTo>
                  <a:lnTo>
                    <a:pt x="4177882" y="2947858"/>
                  </a:lnTo>
                  <a:lnTo>
                    <a:pt x="4177881" y="2947862"/>
                  </a:lnTo>
                  <a:lnTo>
                    <a:pt x="4177881" y="2947863"/>
                  </a:lnTo>
                  <a:cubicBezTo>
                    <a:pt x="4177512" y="2959157"/>
                    <a:pt x="4178512" y="2970576"/>
                    <a:pt x="4181465" y="2982149"/>
                  </a:cubicBezTo>
                  <a:lnTo>
                    <a:pt x="4193158" y="3077402"/>
                  </a:lnTo>
                  <a:lnTo>
                    <a:pt x="4180703" y="3172654"/>
                  </a:lnTo>
                  <a:cubicBezTo>
                    <a:pt x="4154794" y="3276480"/>
                    <a:pt x="4127362" y="3380305"/>
                    <a:pt x="4133076" y="3489467"/>
                  </a:cubicBezTo>
                  <a:cubicBezTo>
                    <a:pt x="4134028" y="3507563"/>
                    <a:pt x="4122407" y="3529090"/>
                    <a:pt x="4110977" y="3544713"/>
                  </a:cubicBezTo>
                  <a:cubicBezTo>
                    <a:pt x="4100119" y="3559668"/>
                    <a:pt x="4094260" y="3566812"/>
                    <a:pt x="4093355" y="3574408"/>
                  </a:cubicBezTo>
                  <a:lnTo>
                    <a:pt x="4093355" y="3574409"/>
                  </a:lnTo>
                  <a:cubicBezTo>
                    <a:pt x="4092450" y="3582005"/>
                    <a:pt x="4096499" y="3590054"/>
                    <a:pt x="4105453" y="3606818"/>
                  </a:cubicBezTo>
                  <a:cubicBezTo>
                    <a:pt x="4109835" y="3614820"/>
                    <a:pt x="4112501" y="3624726"/>
                    <a:pt x="4118979" y="3630633"/>
                  </a:cubicBezTo>
                  <a:lnTo>
                    <a:pt x="4136708" y="3654416"/>
                  </a:lnTo>
                  <a:lnTo>
                    <a:pt x="4140382" y="3668940"/>
                  </a:lnTo>
                  <a:lnTo>
                    <a:pt x="4143220" y="3680164"/>
                  </a:lnTo>
                  <a:lnTo>
                    <a:pt x="4139172" y="3734837"/>
                  </a:lnTo>
                  <a:lnTo>
                    <a:pt x="4139172" y="3734838"/>
                  </a:lnTo>
                  <a:cubicBezTo>
                    <a:pt x="4138220" y="3741316"/>
                    <a:pt x="4136886" y="3749126"/>
                    <a:pt x="4139554" y="3754653"/>
                  </a:cubicBezTo>
                  <a:lnTo>
                    <a:pt x="4145911" y="3789776"/>
                  </a:lnTo>
                  <a:lnTo>
                    <a:pt x="4130980" y="3822472"/>
                  </a:lnTo>
                  <a:cubicBezTo>
                    <a:pt x="4123932" y="3831902"/>
                    <a:pt x="4118312" y="3842046"/>
                    <a:pt x="4116645" y="3852619"/>
                  </a:cubicBezTo>
                  <a:lnTo>
                    <a:pt x="4116645" y="3852620"/>
                  </a:lnTo>
                  <a:lnTo>
                    <a:pt x="4117425" y="3868764"/>
                  </a:lnTo>
                  <a:lnTo>
                    <a:pt x="4126028" y="3885337"/>
                  </a:lnTo>
                  <a:lnTo>
                    <a:pt x="4126028" y="3885339"/>
                  </a:lnTo>
                  <a:cubicBezTo>
                    <a:pt x="4135744" y="3897722"/>
                    <a:pt x="4143150" y="3910319"/>
                    <a:pt x="4148409" y="3923125"/>
                  </a:cubicBezTo>
                  <a:lnTo>
                    <a:pt x="4157913" y="3962160"/>
                  </a:lnTo>
                  <a:lnTo>
                    <a:pt x="4142221" y="4043838"/>
                  </a:lnTo>
                  <a:lnTo>
                    <a:pt x="4142220" y="4043839"/>
                  </a:lnTo>
                  <a:cubicBezTo>
                    <a:pt x="4133457" y="4063842"/>
                    <a:pt x="4128075" y="4083702"/>
                    <a:pt x="4127099" y="4103825"/>
                  </a:cubicBezTo>
                  <a:lnTo>
                    <a:pt x="4127099" y="4103826"/>
                  </a:lnTo>
                  <a:lnTo>
                    <a:pt x="4129066" y="4134256"/>
                  </a:lnTo>
                  <a:lnTo>
                    <a:pt x="4138410" y="4165382"/>
                  </a:lnTo>
                  <a:lnTo>
                    <a:pt x="4138410" y="4165384"/>
                  </a:lnTo>
                  <a:lnTo>
                    <a:pt x="4142315" y="4192388"/>
                  </a:lnTo>
                  <a:lnTo>
                    <a:pt x="4142315" y="4192387"/>
                  </a:lnTo>
                  <a:cubicBezTo>
                    <a:pt x="4142411" y="4182767"/>
                    <a:pt x="4141839" y="4173480"/>
                    <a:pt x="4138410" y="4165383"/>
                  </a:cubicBezTo>
                  <a:lnTo>
                    <a:pt x="4138410" y="4165382"/>
                  </a:lnTo>
                  <a:lnTo>
                    <a:pt x="4127099" y="4103826"/>
                  </a:lnTo>
                  <a:lnTo>
                    <a:pt x="4142220" y="4043840"/>
                  </a:lnTo>
                  <a:lnTo>
                    <a:pt x="4142221" y="4043838"/>
                  </a:lnTo>
                  <a:lnTo>
                    <a:pt x="4155523" y="4002410"/>
                  </a:lnTo>
                  <a:lnTo>
                    <a:pt x="4157913" y="3962160"/>
                  </a:lnTo>
                  <a:lnTo>
                    <a:pt x="4157913" y="3962159"/>
                  </a:lnTo>
                  <a:cubicBezTo>
                    <a:pt x="4155651" y="3935727"/>
                    <a:pt x="4145460" y="3910104"/>
                    <a:pt x="4126028" y="3885338"/>
                  </a:cubicBezTo>
                  <a:lnTo>
                    <a:pt x="4126028" y="3885337"/>
                  </a:lnTo>
                  <a:lnTo>
                    <a:pt x="4116645" y="3852620"/>
                  </a:lnTo>
                  <a:lnTo>
                    <a:pt x="4130980" y="3822473"/>
                  </a:lnTo>
                  <a:cubicBezTo>
                    <a:pt x="4139172" y="3811614"/>
                    <a:pt x="4144316" y="3800897"/>
                    <a:pt x="4145911" y="3789777"/>
                  </a:cubicBezTo>
                  <a:lnTo>
                    <a:pt x="4145911" y="3789776"/>
                  </a:lnTo>
                  <a:cubicBezTo>
                    <a:pt x="4147507" y="3778655"/>
                    <a:pt x="4145554" y="3767130"/>
                    <a:pt x="4139554" y="3754652"/>
                  </a:cubicBezTo>
                  <a:lnTo>
                    <a:pt x="4139172" y="3734838"/>
                  </a:lnTo>
                  <a:lnTo>
                    <a:pt x="4143220" y="3680164"/>
                  </a:lnTo>
                  <a:lnTo>
                    <a:pt x="4143220" y="3680163"/>
                  </a:lnTo>
                  <a:lnTo>
                    <a:pt x="4140382" y="3668940"/>
                  </a:lnTo>
                  <a:lnTo>
                    <a:pt x="4136708" y="3654416"/>
                  </a:lnTo>
                  <a:lnTo>
                    <a:pt x="4136708" y="3654416"/>
                  </a:lnTo>
                  <a:lnTo>
                    <a:pt x="4136708" y="3654415"/>
                  </a:lnTo>
                  <a:cubicBezTo>
                    <a:pt x="4132898" y="3646123"/>
                    <a:pt x="4127219" y="3638157"/>
                    <a:pt x="4118979" y="3630632"/>
                  </a:cubicBezTo>
                  <a:cubicBezTo>
                    <a:pt x="4112501" y="3624725"/>
                    <a:pt x="4109835" y="3614819"/>
                    <a:pt x="4105453" y="3606817"/>
                  </a:cubicBezTo>
                  <a:cubicBezTo>
                    <a:pt x="4100976" y="3598435"/>
                    <a:pt x="4097725" y="3592232"/>
                    <a:pt x="4095707" y="3587174"/>
                  </a:cubicBezTo>
                  <a:lnTo>
                    <a:pt x="4093355" y="3574408"/>
                  </a:lnTo>
                  <a:lnTo>
                    <a:pt x="4098434" y="3562321"/>
                  </a:lnTo>
                  <a:cubicBezTo>
                    <a:pt x="4101369" y="3557716"/>
                    <a:pt x="4105548" y="3552191"/>
                    <a:pt x="4110977" y="3544714"/>
                  </a:cubicBezTo>
                  <a:cubicBezTo>
                    <a:pt x="4122407" y="3529091"/>
                    <a:pt x="4134028" y="3507564"/>
                    <a:pt x="4133076" y="3489468"/>
                  </a:cubicBezTo>
                  <a:cubicBezTo>
                    <a:pt x="4127362" y="3380306"/>
                    <a:pt x="4154794" y="3276481"/>
                    <a:pt x="4180703" y="3172655"/>
                  </a:cubicBezTo>
                  <a:cubicBezTo>
                    <a:pt x="4188705" y="3140650"/>
                    <a:pt x="4192943" y="3109026"/>
                    <a:pt x="4193158" y="3077402"/>
                  </a:cubicBezTo>
                  <a:lnTo>
                    <a:pt x="4193158" y="3077401"/>
                  </a:lnTo>
                  <a:cubicBezTo>
                    <a:pt x="4193372" y="3045777"/>
                    <a:pt x="4189562" y="3014153"/>
                    <a:pt x="4181465" y="2982148"/>
                  </a:cubicBezTo>
                  <a:lnTo>
                    <a:pt x="4177881" y="2947863"/>
                  </a:lnTo>
                  <a:lnTo>
                    <a:pt x="4177882" y="2947858"/>
                  </a:lnTo>
                  <a:lnTo>
                    <a:pt x="4185787" y="2903551"/>
                  </a:lnTo>
                  <a:lnTo>
                    <a:pt x="4202421" y="2848794"/>
                  </a:lnTo>
                  <a:cubicBezTo>
                    <a:pt x="4203754" y="2844317"/>
                    <a:pt x="4207040" y="2839983"/>
                    <a:pt x="4211111" y="2836173"/>
                  </a:cubicBezTo>
                  <a:close/>
                  <a:moveTo>
                    <a:pt x="3726625" y="1508458"/>
                  </a:moveTo>
                  <a:lnTo>
                    <a:pt x="3698531" y="1596214"/>
                  </a:lnTo>
                  <a:cubicBezTo>
                    <a:pt x="3696054" y="1604979"/>
                    <a:pt x="3697579" y="1615837"/>
                    <a:pt x="3700436" y="1624981"/>
                  </a:cubicBezTo>
                  <a:cubicBezTo>
                    <a:pt x="3710152" y="1656224"/>
                    <a:pt x="3734537" y="1676037"/>
                    <a:pt x="3757017" y="1697754"/>
                  </a:cubicBezTo>
                  <a:cubicBezTo>
                    <a:pt x="3766924" y="1707280"/>
                    <a:pt x="3773972" y="1720424"/>
                    <a:pt x="3779686" y="1733189"/>
                  </a:cubicBezTo>
                  <a:cubicBezTo>
                    <a:pt x="3794357" y="1766336"/>
                    <a:pt x="3807501" y="1800247"/>
                    <a:pt x="3821407" y="1833776"/>
                  </a:cubicBezTo>
                  <a:cubicBezTo>
                    <a:pt x="3822741" y="1837014"/>
                    <a:pt x="3826170" y="1839680"/>
                    <a:pt x="3829028" y="1842159"/>
                  </a:cubicBezTo>
                  <a:cubicBezTo>
                    <a:pt x="3859129" y="1866923"/>
                    <a:pt x="3889418" y="1891498"/>
                    <a:pt x="3919519" y="1916455"/>
                  </a:cubicBezTo>
                  <a:cubicBezTo>
                    <a:pt x="3925233" y="1921217"/>
                    <a:pt x="3929425" y="1928077"/>
                    <a:pt x="3934949" y="1933220"/>
                  </a:cubicBezTo>
                  <a:cubicBezTo>
                    <a:pt x="3942569" y="1940460"/>
                    <a:pt x="3949810" y="1949604"/>
                    <a:pt x="3958954" y="1953414"/>
                  </a:cubicBezTo>
                  <a:cubicBezTo>
                    <a:pt x="3987719" y="1965225"/>
                    <a:pt x="4000103" y="1987895"/>
                    <a:pt x="4005437" y="2016470"/>
                  </a:cubicBezTo>
                  <a:cubicBezTo>
                    <a:pt x="4010390" y="2042571"/>
                    <a:pt x="4014582" y="2068670"/>
                    <a:pt x="4020296" y="2094579"/>
                  </a:cubicBezTo>
                  <a:cubicBezTo>
                    <a:pt x="4027154" y="2126202"/>
                    <a:pt x="4034584" y="2157637"/>
                    <a:pt x="4042967" y="2188880"/>
                  </a:cubicBezTo>
                  <a:cubicBezTo>
                    <a:pt x="4046587" y="2202405"/>
                    <a:pt x="4050777" y="2216693"/>
                    <a:pt x="4058207" y="2228315"/>
                  </a:cubicBezTo>
                  <a:cubicBezTo>
                    <a:pt x="4078782" y="2260891"/>
                    <a:pt x="4092688" y="2295754"/>
                    <a:pt x="4087164" y="2334045"/>
                  </a:cubicBezTo>
                  <a:cubicBezTo>
                    <a:pt x="4082782" y="2364716"/>
                    <a:pt x="4094022" y="2390435"/>
                    <a:pt x="4111549" y="2409486"/>
                  </a:cubicBezTo>
                  <a:cubicBezTo>
                    <a:pt x="4119503" y="2418155"/>
                    <a:pt x="4125016" y="2426977"/>
                    <a:pt x="4128650" y="2435913"/>
                  </a:cubicBezTo>
                  <a:lnTo>
                    <a:pt x="4134481" y="2463018"/>
                  </a:lnTo>
                  <a:lnTo>
                    <a:pt x="4125839" y="2518262"/>
                  </a:lnTo>
                  <a:lnTo>
                    <a:pt x="4125838" y="2518264"/>
                  </a:lnTo>
                  <a:cubicBezTo>
                    <a:pt x="4123171" y="2527790"/>
                    <a:pt x="4122027" y="2536457"/>
                    <a:pt x="4122194" y="2545006"/>
                  </a:cubicBezTo>
                  <a:lnTo>
                    <a:pt x="4122194" y="2545007"/>
                  </a:lnTo>
                  <a:cubicBezTo>
                    <a:pt x="4122360" y="2553556"/>
                    <a:pt x="4123837" y="2561986"/>
                    <a:pt x="4126408" y="2571035"/>
                  </a:cubicBezTo>
                  <a:cubicBezTo>
                    <a:pt x="4138410" y="2612946"/>
                    <a:pt x="4170987" y="2640951"/>
                    <a:pt x="4199563" y="2668002"/>
                  </a:cubicBezTo>
                  <a:cubicBezTo>
                    <a:pt x="4223947" y="2691055"/>
                    <a:pt x="4237663" y="2716964"/>
                    <a:pt x="4247953" y="2745349"/>
                  </a:cubicBezTo>
                  <a:lnTo>
                    <a:pt x="4247954" y="2745352"/>
                  </a:lnTo>
                  <a:lnTo>
                    <a:pt x="4253873" y="2778006"/>
                  </a:lnTo>
                  <a:lnTo>
                    <a:pt x="4253453" y="2785440"/>
                  </a:lnTo>
                  <a:lnTo>
                    <a:pt x="4243374" y="2811780"/>
                  </a:lnTo>
                  <a:lnTo>
                    <a:pt x="4243371" y="2811787"/>
                  </a:lnTo>
                  <a:lnTo>
                    <a:pt x="4243372" y="2811787"/>
                  </a:lnTo>
                  <a:lnTo>
                    <a:pt x="4243374" y="2811780"/>
                  </a:lnTo>
                  <a:lnTo>
                    <a:pt x="4253025" y="2793023"/>
                  </a:lnTo>
                  <a:lnTo>
                    <a:pt x="4253453" y="2785440"/>
                  </a:lnTo>
                  <a:lnTo>
                    <a:pt x="4254654" y="2782305"/>
                  </a:lnTo>
                  <a:lnTo>
                    <a:pt x="4253873" y="2778006"/>
                  </a:lnTo>
                  <a:lnTo>
                    <a:pt x="4254284" y="2770758"/>
                  </a:lnTo>
                  <a:lnTo>
                    <a:pt x="4247954" y="2745352"/>
                  </a:lnTo>
                  <a:lnTo>
                    <a:pt x="4247953" y="2745348"/>
                  </a:lnTo>
                  <a:cubicBezTo>
                    <a:pt x="4237663" y="2716963"/>
                    <a:pt x="4223947" y="2691054"/>
                    <a:pt x="4199563" y="2668001"/>
                  </a:cubicBezTo>
                  <a:cubicBezTo>
                    <a:pt x="4170987" y="2640950"/>
                    <a:pt x="4138410" y="2612945"/>
                    <a:pt x="4126408" y="2571034"/>
                  </a:cubicBezTo>
                  <a:lnTo>
                    <a:pt x="4122194" y="2545007"/>
                  </a:lnTo>
                  <a:lnTo>
                    <a:pt x="4125838" y="2518265"/>
                  </a:lnTo>
                  <a:lnTo>
                    <a:pt x="4125839" y="2518262"/>
                  </a:lnTo>
                  <a:lnTo>
                    <a:pt x="4132419" y="2490551"/>
                  </a:lnTo>
                  <a:lnTo>
                    <a:pt x="4134481" y="2463018"/>
                  </a:lnTo>
                  <a:lnTo>
                    <a:pt x="4134481" y="2463017"/>
                  </a:lnTo>
                  <a:cubicBezTo>
                    <a:pt x="4133600" y="2444777"/>
                    <a:pt x="4127457" y="2426822"/>
                    <a:pt x="4111549" y="2409485"/>
                  </a:cubicBezTo>
                  <a:cubicBezTo>
                    <a:pt x="4094022" y="2390434"/>
                    <a:pt x="4082782" y="2364715"/>
                    <a:pt x="4087164" y="2334044"/>
                  </a:cubicBezTo>
                  <a:cubicBezTo>
                    <a:pt x="4092688" y="2295753"/>
                    <a:pt x="4078782" y="2260890"/>
                    <a:pt x="4058207" y="2228314"/>
                  </a:cubicBezTo>
                  <a:cubicBezTo>
                    <a:pt x="4050777" y="2216692"/>
                    <a:pt x="4046587" y="2202404"/>
                    <a:pt x="4042967" y="2188879"/>
                  </a:cubicBezTo>
                  <a:cubicBezTo>
                    <a:pt x="4034584" y="2157636"/>
                    <a:pt x="4027154" y="2126201"/>
                    <a:pt x="4020296" y="2094578"/>
                  </a:cubicBezTo>
                  <a:cubicBezTo>
                    <a:pt x="4014582" y="2068669"/>
                    <a:pt x="4010390" y="2042570"/>
                    <a:pt x="4005437" y="2016469"/>
                  </a:cubicBezTo>
                  <a:cubicBezTo>
                    <a:pt x="4000103" y="1987894"/>
                    <a:pt x="3987719" y="1965224"/>
                    <a:pt x="3958954" y="1953413"/>
                  </a:cubicBezTo>
                  <a:cubicBezTo>
                    <a:pt x="3949810" y="1949603"/>
                    <a:pt x="3942569" y="1940459"/>
                    <a:pt x="3934949" y="1933219"/>
                  </a:cubicBezTo>
                  <a:cubicBezTo>
                    <a:pt x="3929425" y="1928076"/>
                    <a:pt x="3925233" y="1921216"/>
                    <a:pt x="3919519" y="1916454"/>
                  </a:cubicBezTo>
                  <a:cubicBezTo>
                    <a:pt x="3889418" y="1891497"/>
                    <a:pt x="3859129" y="1866922"/>
                    <a:pt x="3829028" y="1842158"/>
                  </a:cubicBezTo>
                  <a:cubicBezTo>
                    <a:pt x="3826170" y="1839679"/>
                    <a:pt x="3822741" y="1837013"/>
                    <a:pt x="3821407" y="1833775"/>
                  </a:cubicBezTo>
                  <a:cubicBezTo>
                    <a:pt x="3807501" y="1800246"/>
                    <a:pt x="3794358" y="1766335"/>
                    <a:pt x="3779686" y="1733188"/>
                  </a:cubicBezTo>
                  <a:cubicBezTo>
                    <a:pt x="3773972" y="1720423"/>
                    <a:pt x="3766924" y="1707279"/>
                    <a:pt x="3757018" y="1697753"/>
                  </a:cubicBezTo>
                  <a:cubicBezTo>
                    <a:pt x="3734538" y="1676036"/>
                    <a:pt x="3710152" y="1656223"/>
                    <a:pt x="3700436" y="1624980"/>
                  </a:cubicBezTo>
                  <a:cubicBezTo>
                    <a:pt x="3697580" y="1615836"/>
                    <a:pt x="3696055" y="1604978"/>
                    <a:pt x="3698532" y="1596213"/>
                  </a:cubicBezTo>
                  <a:close/>
                  <a:moveTo>
                    <a:pt x="3745230" y="1459073"/>
                  </a:moveTo>
                  <a:lnTo>
                    <a:pt x="3745229" y="1459074"/>
                  </a:lnTo>
                  <a:lnTo>
                    <a:pt x="3736012" y="1481572"/>
                  </a:lnTo>
                  <a:close/>
                  <a:moveTo>
                    <a:pt x="3764423" y="1268758"/>
                  </a:moveTo>
                  <a:cubicBezTo>
                    <a:pt x="3764875" y="1275402"/>
                    <a:pt x="3766447" y="1281689"/>
                    <a:pt x="3769590" y="1286070"/>
                  </a:cubicBezTo>
                  <a:cubicBezTo>
                    <a:pt x="3784163" y="1306930"/>
                    <a:pt x="3790403" y="1328553"/>
                    <a:pt x="3791927" y="1350628"/>
                  </a:cubicBezTo>
                  <a:lnTo>
                    <a:pt x="3786333" y="1413840"/>
                  </a:lnTo>
                  <a:lnTo>
                    <a:pt x="3791928" y="1350627"/>
                  </a:lnTo>
                  <a:cubicBezTo>
                    <a:pt x="3790403" y="1328552"/>
                    <a:pt x="3784164" y="1306930"/>
                    <a:pt x="3769590" y="1286069"/>
                  </a:cubicBezTo>
                  <a:close/>
                  <a:moveTo>
                    <a:pt x="3706152" y="773035"/>
                  </a:moveTo>
                  <a:lnTo>
                    <a:pt x="3706152" y="773036"/>
                  </a:lnTo>
                  <a:cubicBezTo>
                    <a:pt x="3708438" y="800277"/>
                    <a:pt x="3711676" y="827330"/>
                    <a:pt x="3714152" y="854380"/>
                  </a:cubicBezTo>
                  <a:cubicBezTo>
                    <a:pt x="3716438" y="878957"/>
                    <a:pt x="3717200" y="903723"/>
                    <a:pt x="3745205" y="915344"/>
                  </a:cubicBezTo>
                  <a:cubicBezTo>
                    <a:pt x="3749587" y="917060"/>
                    <a:pt x="3752825" y="922774"/>
                    <a:pt x="3755683" y="927156"/>
                  </a:cubicBezTo>
                  <a:cubicBezTo>
                    <a:pt x="3799691" y="994786"/>
                    <a:pt x="3798547" y="1030981"/>
                    <a:pt x="3752063" y="1097088"/>
                  </a:cubicBezTo>
                  <a:cubicBezTo>
                    <a:pt x="3747301" y="1103946"/>
                    <a:pt x="3743871" y="1118614"/>
                    <a:pt x="3747681" y="1123186"/>
                  </a:cubicBezTo>
                  <a:cubicBezTo>
                    <a:pt x="3763493" y="1142618"/>
                    <a:pt x="3770542" y="1162954"/>
                    <a:pt x="3772400" y="1184029"/>
                  </a:cubicBezTo>
                  <a:cubicBezTo>
                    <a:pt x="3770542" y="1162954"/>
                    <a:pt x="3763494" y="1142617"/>
                    <a:pt x="3747682" y="1123185"/>
                  </a:cubicBezTo>
                  <a:cubicBezTo>
                    <a:pt x="3743872" y="1118613"/>
                    <a:pt x="3747302" y="1103945"/>
                    <a:pt x="3752064" y="1097087"/>
                  </a:cubicBezTo>
                  <a:cubicBezTo>
                    <a:pt x="3798548" y="1030980"/>
                    <a:pt x="3799692" y="994785"/>
                    <a:pt x="3755684" y="927155"/>
                  </a:cubicBezTo>
                  <a:cubicBezTo>
                    <a:pt x="3752826" y="922773"/>
                    <a:pt x="3749588" y="917059"/>
                    <a:pt x="3745206" y="915343"/>
                  </a:cubicBezTo>
                  <a:cubicBezTo>
                    <a:pt x="3717200" y="903722"/>
                    <a:pt x="3716438" y="878956"/>
                    <a:pt x="3714152" y="854379"/>
                  </a:cubicBezTo>
                  <a:close/>
                  <a:moveTo>
                    <a:pt x="3761553" y="517851"/>
                  </a:moveTo>
                  <a:lnTo>
                    <a:pt x="3752635" y="556048"/>
                  </a:lnTo>
                  <a:cubicBezTo>
                    <a:pt x="3750539" y="564049"/>
                    <a:pt x="3745015" y="572623"/>
                    <a:pt x="3746157" y="580051"/>
                  </a:cubicBezTo>
                  <a:cubicBezTo>
                    <a:pt x="3749491" y="601579"/>
                    <a:pt x="3747062" y="622201"/>
                    <a:pt x="3742776" y="642538"/>
                  </a:cubicBezTo>
                  <a:lnTo>
                    <a:pt x="3730253" y="694928"/>
                  </a:lnTo>
                  <a:lnTo>
                    <a:pt x="3742777" y="642537"/>
                  </a:lnTo>
                  <a:cubicBezTo>
                    <a:pt x="3747063" y="622201"/>
                    <a:pt x="3749492" y="601578"/>
                    <a:pt x="3746158" y="580050"/>
                  </a:cubicBezTo>
                  <a:cubicBezTo>
                    <a:pt x="3745016" y="572622"/>
                    <a:pt x="3750540" y="564048"/>
                    <a:pt x="3752636" y="556047"/>
                  </a:cubicBezTo>
                  <a:close/>
                  <a:moveTo>
                    <a:pt x="3774848" y="298169"/>
                  </a:moveTo>
                  <a:lnTo>
                    <a:pt x="3760065" y="313534"/>
                  </a:lnTo>
                  <a:cubicBezTo>
                    <a:pt x="3755873" y="316390"/>
                    <a:pt x="3758159" y="330299"/>
                    <a:pt x="3759493" y="338871"/>
                  </a:cubicBezTo>
                  <a:lnTo>
                    <a:pt x="3759500" y="338900"/>
                  </a:lnTo>
                  <a:lnTo>
                    <a:pt x="3769400" y="395640"/>
                  </a:lnTo>
                  <a:lnTo>
                    <a:pt x="3765590" y="367328"/>
                  </a:lnTo>
                  <a:lnTo>
                    <a:pt x="3759500" y="338900"/>
                  </a:lnTo>
                  <a:lnTo>
                    <a:pt x="3759494" y="338870"/>
                  </a:lnTo>
                  <a:cubicBezTo>
                    <a:pt x="3758160" y="330298"/>
                    <a:pt x="3755874" y="316389"/>
                    <a:pt x="3760066" y="313533"/>
                  </a:cubicBezTo>
                  <a:close/>
                  <a:moveTo>
                    <a:pt x="3782393" y="281568"/>
                  </a:moveTo>
                  <a:lnTo>
                    <a:pt x="3777498" y="295415"/>
                  </a:lnTo>
                  <a:lnTo>
                    <a:pt x="3777499" y="295415"/>
                  </a:lnTo>
                  <a:close/>
                  <a:moveTo>
                    <a:pt x="3769073" y="24486"/>
                  </a:moveTo>
                  <a:lnTo>
                    <a:pt x="3766810" y="74129"/>
                  </a:lnTo>
                  <a:cubicBezTo>
                    <a:pt x="3767733" y="91492"/>
                    <a:pt x="3770043" y="108703"/>
                    <a:pt x="3772734" y="125861"/>
                  </a:cubicBezTo>
                  <a:lnTo>
                    <a:pt x="3777129" y="153387"/>
                  </a:lnTo>
                  <a:lnTo>
                    <a:pt x="3785402" y="228944"/>
                  </a:lnTo>
                  <a:lnTo>
                    <a:pt x="3780943" y="177271"/>
                  </a:lnTo>
                  <a:lnTo>
                    <a:pt x="3777129" y="153387"/>
                  </a:lnTo>
                  <a:lnTo>
                    <a:pt x="3776930" y="151569"/>
                  </a:lnTo>
                  <a:cubicBezTo>
                    <a:pt x="3772700" y="125876"/>
                    <a:pt x="3768195" y="100174"/>
                    <a:pt x="3766811" y="74129"/>
                  </a:cubicBezTo>
                  <a:close/>
                  <a:moveTo>
                    <a:pt x="3766492" y="0"/>
                  </a:moveTo>
                  <a:lnTo>
                    <a:pt x="4230600" y="0"/>
                  </a:lnTo>
                  <a:lnTo>
                    <a:pt x="4229473" y="2817"/>
                  </a:lnTo>
                  <a:cubicBezTo>
                    <a:pt x="4221092" y="21486"/>
                    <a:pt x="4218423" y="43012"/>
                    <a:pt x="4215375" y="63587"/>
                  </a:cubicBezTo>
                  <a:cubicBezTo>
                    <a:pt x="4209851" y="101308"/>
                    <a:pt x="4206421" y="139219"/>
                    <a:pt x="4201468" y="176939"/>
                  </a:cubicBezTo>
                  <a:cubicBezTo>
                    <a:pt x="4200325" y="184941"/>
                    <a:pt x="4198231" y="194085"/>
                    <a:pt x="4193466" y="200182"/>
                  </a:cubicBezTo>
                  <a:cubicBezTo>
                    <a:pt x="4161461" y="241901"/>
                    <a:pt x="4152508" y="292579"/>
                    <a:pt x="4155554" y="340774"/>
                  </a:cubicBezTo>
                  <a:cubicBezTo>
                    <a:pt x="4157843" y="378686"/>
                    <a:pt x="4159557" y="415835"/>
                    <a:pt x="4156319" y="453364"/>
                  </a:cubicBezTo>
                  <a:cubicBezTo>
                    <a:pt x="4156127" y="456222"/>
                    <a:pt x="4156509" y="460032"/>
                    <a:pt x="4158033" y="462126"/>
                  </a:cubicBezTo>
                  <a:cubicBezTo>
                    <a:pt x="4168129" y="475081"/>
                    <a:pt x="4168891" y="488607"/>
                    <a:pt x="4170605" y="505182"/>
                  </a:cubicBezTo>
                  <a:cubicBezTo>
                    <a:pt x="4173083" y="528615"/>
                    <a:pt x="4171367" y="550141"/>
                    <a:pt x="4167177" y="571860"/>
                  </a:cubicBezTo>
                  <a:cubicBezTo>
                    <a:pt x="4164129" y="587672"/>
                    <a:pt x="4157843" y="603673"/>
                    <a:pt x="4149840" y="617772"/>
                  </a:cubicBezTo>
                  <a:cubicBezTo>
                    <a:pt x="4138600" y="637392"/>
                    <a:pt x="4134220" y="656255"/>
                    <a:pt x="4149078" y="674923"/>
                  </a:cubicBezTo>
                  <a:cubicBezTo>
                    <a:pt x="4164891" y="695116"/>
                    <a:pt x="4159367" y="717977"/>
                    <a:pt x="4159937" y="740268"/>
                  </a:cubicBezTo>
                  <a:cubicBezTo>
                    <a:pt x="4160129" y="749982"/>
                    <a:pt x="4159747" y="760270"/>
                    <a:pt x="4162223" y="769605"/>
                  </a:cubicBezTo>
                  <a:cubicBezTo>
                    <a:pt x="4169273" y="796655"/>
                    <a:pt x="4179941" y="822756"/>
                    <a:pt x="4184703" y="850189"/>
                  </a:cubicBezTo>
                  <a:cubicBezTo>
                    <a:pt x="4187370" y="865430"/>
                    <a:pt x="4182607" y="882384"/>
                    <a:pt x="4179179" y="898198"/>
                  </a:cubicBezTo>
                  <a:cubicBezTo>
                    <a:pt x="4175559" y="914200"/>
                    <a:pt x="4170035" y="930011"/>
                    <a:pt x="4164319" y="945444"/>
                  </a:cubicBezTo>
                  <a:cubicBezTo>
                    <a:pt x="4160509" y="955920"/>
                    <a:pt x="4156889" y="967350"/>
                    <a:pt x="4150030" y="975733"/>
                  </a:cubicBezTo>
                  <a:cubicBezTo>
                    <a:pt x="4134410" y="994785"/>
                    <a:pt x="4131742" y="1014406"/>
                    <a:pt x="4139934" y="1036887"/>
                  </a:cubicBezTo>
                  <a:cubicBezTo>
                    <a:pt x="4141268" y="1040315"/>
                    <a:pt x="4141268" y="1044315"/>
                    <a:pt x="4141458" y="1048125"/>
                  </a:cubicBezTo>
                  <a:cubicBezTo>
                    <a:pt x="4145458" y="1109091"/>
                    <a:pt x="4147936" y="1170051"/>
                    <a:pt x="4154032" y="1230633"/>
                  </a:cubicBezTo>
                  <a:cubicBezTo>
                    <a:pt x="4156509" y="1255206"/>
                    <a:pt x="4167367" y="1278829"/>
                    <a:pt x="4174225" y="1303024"/>
                  </a:cubicBezTo>
                  <a:cubicBezTo>
                    <a:pt x="4175559" y="1307978"/>
                    <a:pt x="4177655" y="1313504"/>
                    <a:pt x="4176701" y="1318456"/>
                  </a:cubicBezTo>
                  <a:cubicBezTo>
                    <a:pt x="4167177" y="1372368"/>
                    <a:pt x="4181083" y="1422854"/>
                    <a:pt x="4199372" y="1472575"/>
                  </a:cubicBezTo>
                  <a:cubicBezTo>
                    <a:pt x="4201278" y="1477717"/>
                    <a:pt x="4200706" y="1484004"/>
                    <a:pt x="4200325" y="1489720"/>
                  </a:cubicBezTo>
                  <a:cubicBezTo>
                    <a:pt x="4198993" y="1505724"/>
                    <a:pt x="4192324" y="1523059"/>
                    <a:pt x="4196324" y="1537537"/>
                  </a:cubicBezTo>
                  <a:cubicBezTo>
                    <a:pt x="4207374" y="1576019"/>
                    <a:pt x="4220709" y="1614120"/>
                    <a:pt x="4237474" y="1650317"/>
                  </a:cubicBezTo>
                  <a:cubicBezTo>
                    <a:pt x="4254428" y="1687086"/>
                    <a:pt x="4268716" y="1721185"/>
                    <a:pt x="4251572" y="1763287"/>
                  </a:cubicBezTo>
                  <a:cubicBezTo>
                    <a:pt x="4244332" y="1781194"/>
                    <a:pt x="4249476" y="1804816"/>
                    <a:pt x="4251380" y="1825393"/>
                  </a:cubicBezTo>
                  <a:cubicBezTo>
                    <a:pt x="4252904" y="1840441"/>
                    <a:pt x="4261478" y="1854920"/>
                    <a:pt x="4261478" y="1869780"/>
                  </a:cubicBezTo>
                  <a:cubicBezTo>
                    <a:pt x="4261478" y="1909408"/>
                    <a:pt x="4271574" y="1944649"/>
                    <a:pt x="4292149" y="1978940"/>
                  </a:cubicBezTo>
                  <a:cubicBezTo>
                    <a:pt x="4300150" y="1992279"/>
                    <a:pt x="4294815" y="2013043"/>
                    <a:pt x="4296911" y="2030378"/>
                  </a:cubicBezTo>
                  <a:cubicBezTo>
                    <a:pt x="4299388" y="2048668"/>
                    <a:pt x="4301673" y="2067525"/>
                    <a:pt x="4307201" y="2085054"/>
                  </a:cubicBezTo>
                  <a:cubicBezTo>
                    <a:pt x="4321679" y="2130393"/>
                    <a:pt x="4338062" y="2175163"/>
                    <a:pt x="4353302" y="2220312"/>
                  </a:cubicBezTo>
                  <a:cubicBezTo>
                    <a:pt x="4365877" y="2257459"/>
                    <a:pt x="4355970" y="2294039"/>
                    <a:pt x="4350636" y="2330806"/>
                  </a:cubicBezTo>
                  <a:cubicBezTo>
                    <a:pt x="4347205" y="2353859"/>
                    <a:pt x="4339013" y="2375383"/>
                    <a:pt x="4351206" y="2401292"/>
                  </a:cubicBezTo>
                  <a:cubicBezTo>
                    <a:pt x="4362828" y="2426059"/>
                    <a:pt x="4360160" y="2457492"/>
                    <a:pt x="4366446" y="2485307"/>
                  </a:cubicBezTo>
                  <a:cubicBezTo>
                    <a:pt x="4371781" y="2508742"/>
                    <a:pt x="4380354" y="2531409"/>
                    <a:pt x="4388736" y="2554079"/>
                  </a:cubicBezTo>
                  <a:cubicBezTo>
                    <a:pt x="4400168" y="2584942"/>
                    <a:pt x="4412167" y="2615421"/>
                    <a:pt x="4406453" y="2649143"/>
                  </a:cubicBezTo>
                  <a:cubicBezTo>
                    <a:pt x="4399976" y="2687436"/>
                    <a:pt x="4424359" y="2713723"/>
                    <a:pt x="4440554" y="2743826"/>
                  </a:cubicBezTo>
                  <a:cubicBezTo>
                    <a:pt x="4451603" y="2764590"/>
                    <a:pt x="4459795" y="2787259"/>
                    <a:pt x="4466653" y="2809930"/>
                  </a:cubicBezTo>
                  <a:cubicBezTo>
                    <a:pt x="4475607" y="2840219"/>
                    <a:pt x="4480941" y="2871462"/>
                    <a:pt x="4489705" y="2901943"/>
                  </a:cubicBezTo>
                  <a:cubicBezTo>
                    <a:pt x="4502848" y="2948047"/>
                    <a:pt x="4513137" y="2994722"/>
                    <a:pt x="4505897" y="3042728"/>
                  </a:cubicBezTo>
                  <a:cubicBezTo>
                    <a:pt x="4502659" y="3064827"/>
                    <a:pt x="4502848" y="3085403"/>
                    <a:pt x="4507613" y="3107500"/>
                  </a:cubicBezTo>
                  <a:cubicBezTo>
                    <a:pt x="4515422" y="3143695"/>
                    <a:pt x="4516376" y="3180844"/>
                    <a:pt x="4545521" y="3209993"/>
                  </a:cubicBezTo>
                  <a:cubicBezTo>
                    <a:pt x="4555811" y="3220280"/>
                    <a:pt x="4558477" y="3238758"/>
                    <a:pt x="4563811" y="3253809"/>
                  </a:cubicBezTo>
                  <a:cubicBezTo>
                    <a:pt x="4570099" y="3271145"/>
                    <a:pt x="4566858" y="3283908"/>
                    <a:pt x="4548570" y="3293244"/>
                  </a:cubicBezTo>
                  <a:cubicBezTo>
                    <a:pt x="4540379" y="3297434"/>
                    <a:pt x="4532378" y="3309437"/>
                    <a:pt x="4531043" y="3318771"/>
                  </a:cubicBezTo>
                  <a:cubicBezTo>
                    <a:pt x="4527043" y="3346776"/>
                    <a:pt x="4532950" y="3372495"/>
                    <a:pt x="4545904" y="3399546"/>
                  </a:cubicBezTo>
                  <a:cubicBezTo>
                    <a:pt x="4558096" y="3424883"/>
                    <a:pt x="4556762" y="3456508"/>
                    <a:pt x="4561524" y="3485275"/>
                  </a:cubicBezTo>
                  <a:cubicBezTo>
                    <a:pt x="4564954" y="3505657"/>
                    <a:pt x="4572002" y="3526042"/>
                    <a:pt x="4572002" y="3546617"/>
                  </a:cubicBezTo>
                  <a:cubicBezTo>
                    <a:pt x="4572002" y="3572146"/>
                    <a:pt x="4565907" y="3597482"/>
                    <a:pt x="4563620" y="3623201"/>
                  </a:cubicBezTo>
                  <a:cubicBezTo>
                    <a:pt x="4561716" y="3643204"/>
                    <a:pt x="4562478" y="3663589"/>
                    <a:pt x="4560192" y="3683591"/>
                  </a:cubicBezTo>
                  <a:cubicBezTo>
                    <a:pt x="4558477" y="3699976"/>
                    <a:pt x="4554096" y="3716168"/>
                    <a:pt x="4550476" y="3732361"/>
                  </a:cubicBezTo>
                  <a:cubicBezTo>
                    <a:pt x="4549142" y="3738267"/>
                    <a:pt x="4543998" y="3744173"/>
                    <a:pt x="4544759" y="3749506"/>
                  </a:cubicBezTo>
                  <a:cubicBezTo>
                    <a:pt x="4552953" y="3802467"/>
                    <a:pt x="4516376" y="3840569"/>
                    <a:pt x="4500182" y="3885338"/>
                  </a:cubicBezTo>
                  <a:cubicBezTo>
                    <a:pt x="4483035" y="3932394"/>
                    <a:pt x="4456748" y="3977925"/>
                    <a:pt x="4464557" y="4030503"/>
                  </a:cubicBezTo>
                  <a:cubicBezTo>
                    <a:pt x="4469319" y="4062318"/>
                    <a:pt x="4480369" y="4092989"/>
                    <a:pt x="4487039" y="4124614"/>
                  </a:cubicBezTo>
                  <a:cubicBezTo>
                    <a:pt x="4489324" y="4135854"/>
                    <a:pt x="4488943" y="4148427"/>
                    <a:pt x="4486656" y="4159667"/>
                  </a:cubicBezTo>
                  <a:cubicBezTo>
                    <a:pt x="4476177" y="4213961"/>
                    <a:pt x="4474653" y="4267493"/>
                    <a:pt x="4491801" y="4320837"/>
                  </a:cubicBezTo>
                  <a:cubicBezTo>
                    <a:pt x="4494659" y="4329979"/>
                    <a:pt x="4497325" y="4339695"/>
                    <a:pt x="4497325" y="4349222"/>
                  </a:cubicBezTo>
                  <a:cubicBezTo>
                    <a:pt x="4497325" y="4401419"/>
                    <a:pt x="4493324" y="4452665"/>
                    <a:pt x="4474653" y="4502579"/>
                  </a:cubicBezTo>
                  <a:cubicBezTo>
                    <a:pt x="4468368" y="4519343"/>
                    <a:pt x="4472368" y="4539728"/>
                    <a:pt x="4470844" y="4558207"/>
                  </a:cubicBezTo>
                  <a:cubicBezTo>
                    <a:pt x="4469511" y="4575351"/>
                    <a:pt x="4468940" y="4592878"/>
                    <a:pt x="4464557" y="4609452"/>
                  </a:cubicBezTo>
                  <a:cubicBezTo>
                    <a:pt x="4458082" y="4633647"/>
                    <a:pt x="4457320" y="4656126"/>
                    <a:pt x="4463033" y="4681083"/>
                  </a:cubicBezTo>
                  <a:cubicBezTo>
                    <a:pt x="4468368" y="4704895"/>
                    <a:pt x="4465702" y="4730614"/>
                    <a:pt x="4465891" y="4755381"/>
                  </a:cubicBezTo>
                  <a:cubicBezTo>
                    <a:pt x="4466082" y="4783004"/>
                    <a:pt x="4466272" y="4810627"/>
                    <a:pt x="4465319" y="4838250"/>
                  </a:cubicBezTo>
                  <a:cubicBezTo>
                    <a:pt x="4464940" y="4849300"/>
                    <a:pt x="4457320" y="4861873"/>
                    <a:pt x="4460367" y="4871019"/>
                  </a:cubicBezTo>
                  <a:cubicBezTo>
                    <a:pt x="4470653" y="4900546"/>
                    <a:pt x="4458271" y="4930075"/>
                    <a:pt x="4463795" y="4959602"/>
                  </a:cubicBezTo>
                  <a:cubicBezTo>
                    <a:pt x="4466653" y="4974082"/>
                    <a:pt x="4458844" y="4990465"/>
                    <a:pt x="4458082" y="5006086"/>
                  </a:cubicBezTo>
                  <a:cubicBezTo>
                    <a:pt x="4456748" y="5031614"/>
                    <a:pt x="4457320" y="5057141"/>
                    <a:pt x="4456937" y="5082670"/>
                  </a:cubicBezTo>
                  <a:cubicBezTo>
                    <a:pt x="4456748" y="5091052"/>
                    <a:pt x="4455986" y="5099245"/>
                    <a:pt x="4455603" y="5107627"/>
                  </a:cubicBezTo>
                  <a:cubicBezTo>
                    <a:pt x="4455223" y="5115057"/>
                    <a:pt x="4453508" y="5122867"/>
                    <a:pt x="4454840" y="5129916"/>
                  </a:cubicBezTo>
                  <a:cubicBezTo>
                    <a:pt x="4459605" y="5155445"/>
                    <a:pt x="4467415" y="5180591"/>
                    <a:pt x="4470464" y="5206308"/>
                  </a:cubicBezTo>
                  <a:cubicBezTo>
                    <a:pt x="4473130" y="5228597"/>
                    <a:pt x="4469511" y="5251650"/>
                    <a:pt x="4471415" y="5274129"/>
                  </a:cubicBezTo>
                  <a:cubicBezTo>
                    <a:pt x="4474653" y="5313754"/>
                    <a:pt x="4480369" y="5353379"/>
                    <a:pt x="4483990" y="5393005"/>
                  </a:cubicBezTo>
                  <a:cubicBezTo>
                    <a:pt x="4484752" y="5401579"/>
                    <a:pt x="4479988" y="5410531"/>
                    <a:pt x="4479607" y="5419295"/>
                  </a:cubicBezTo>
                  <a:cubicBezTo>
                    <a:pt x="4478656" y="5446728"/>
                    <a:pt x="4478464" y="5474161"/>
                    <a:pt x="4477894" y="5501594"/>
                  </a:cubicBezTo>
                  <a:cubicBezTo>
                    <a:pt x="4477702" y="5517215"/>
                    <a:pt x="4478273" y="5533027"/>
                    <a:pt x="4476560" y="5548460"/>
                  </a:cubicBezTo>
                  <a:cubicBezTo>
                    <a:pt x="4474273" y="5568842"/>
                    <a:pt x="4470844" y="5587321"/>
                    <a:pt x="4485703" y="5606372"/>
                  </a:cubicBezTo>
                  <a:cubicBezTo>
                    <a:pt x="4508755" y="5635711"/>
                    <a:pt x="4499801" y="5673050"/>
                    <a:pt x="4505134" y="5706959"/>
                  </a:cubicBezTo>
                  <a:cubicBezTo>
                    <a:pt x="4506468" y="5715723"/>
                    <a:pt x="4506659" y="5724678"/>
                    <a:pt x="4508183" y="5733440"/>
                  </a:cubicBezTo>
                  <a:cubicBezTo>
                    <a:pt x="4511041" y="5749634"/>
                    <a:pt x="4514279" y="5765635"/>
                    <a:pt x="4517519" y="5781830"/>
                  </a:cubicBezTo>
                  <a:cubicBezTo>
                    <a:pt x="4518089" y="5784686"/>
                    <a:pt x="4518281" y="5787924"/>
                    <a:pt x="4519234" y="5790592"/>
                  </a:cubicBezTo>
                  <a:cubicBezTo>
                    <a:pt x="4527233" y="5815169"/>
                    <a:pt x="4536378" y="5839361"/>
                    <a:pt x="4542855" y="5864318"/>
                  </a:cubicBezTo>
                  <a:cubicBezTo>
                    <a:pt x="4546095" y="5876511"/>
                    <a:pt x="4546476" y="5890037"/>
                    <a:pt x="4544759" y="5902610"/>
                  </a:cubicBezTo>
                  <a:cubicBezTo>
                    <a:pt x="4539808" y="5939377"/>
                    <a:pt x="4537712" y="5975764"/>
                    <a:pt x="4544951" y="6012723"/>
                  </a:cubicBezTo>
                  <a:cubicBezTo>
                    <a:pt x="4547808" y="6027392"/>
                    <a:pt x="4543045" y="6043776"/>
                    <a:pt x="4541332" y="6059397"/>
                  </a:cubicBezTo>
                  <a:cubicBezTo>
                    <a:pt x="4536759" y="6096736"/>
                    <a:pt x="4531805" y="6134075"/>
                    <a:pt x="4527426" y="6171605"/>
                  </a:cubicBezTo>
                  <a:cubicBezTo>
                    <a:pt x="4524758" y="6195037"/>
                    <a:pt x="4523234" y="6218660"/>
                    <a:pt x="4520568" y="6242093"/>
                  </a:cubicBezTo>
                  <a:cubicBezTo>
                    <a:pt x="4517327" y="6269144"/>
                    <a:pt x="4512375" y="6296005"/>
                    <a:pt x="4509706" y="6323058"/>
                  </a:cubicBezTo>
                  <a:cubicBezTo>
                    <a:pt x="4506659" y="6353919"/>
                    <a:pt x="4506089" y="6384972"/>
                    <a:pt x="4502848" y="6415833"/>
                  </a:cubicBezTo>
                  <a:cubicBezTo>
                    <a:pt x="4496563" y="6472225"/>
                    <a:pt x="4489132" y="6528424"/>
                    <a:pt x="4482084" y="6584812"/>
                  </a:cubicBezTo>
                  <a:cubicBezTo>
                    <a:pt x="4475226" y="6639488"/>
                    <a:pt x="4469129" y="6694164"/>
                    <a:pt x="4460557" y="6748458"/>
                  </a:cubicBezTo>
                  <a:cubicBezTo>
                    <a:pt x="4456937" y="6771319"/>
                    <a:pt x="4447030" y="6793035"/>
                    <a:pt x="4441507" y="6815516"/>
                  </a:cubicBezTo>
                  <a:lnTo>
                    <a:pt x="4431806" y="6858001"/>
                  </a:lnTo>
                  <a:lnTo>
                    <a:pt x="4259554" y="6858001"/>
                  </a:lnTo>
                  <a:lnTo>
                    <a:pt x="4259554" y="6858002"/>
                  </a:lnTo>
                  <a:lnTo>
                    <a:pt x="0" y="6858002"/>
                  </a:lnTo>
                  <a:lnTo>
                    <a:pt x="0" y="2"/>
                  </a:lnTo>
                  <a:lnTo>
                    <a:pt x="3766492" y="1"/>
                  </a:lnTo>
                  <a:lnTo>
                    <a:pt x="3769210" y="21486"/>
                  </a:lnTo>
                  <a:close/>
                </a:path>
              </a:pathLst>
            </a:cu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053" name="Group 1052">
              <a:extLst>
                <a:ext uri="{FF2B5EF4-FFF2-40B4-BE49-F238E27FC236}">
                  <a16:creationId xmlns:a16="http://schemas.microsoft.com/office/drawing/2014/main" id="{1BCD9601-1F44-4E40-998C-1B256DAE9464}"/>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697284" y="-1"/>
              <a:ext cx="884241" cy="6858002"/>
              <a:chOff x="3697284" y="-1"/>
              <a:chExt cx="884241" cy="6858002"/>
            </a:xfrm>
          </p:grpSpPr>
          <p:grpSp>
            <p:nvGrpSpPr>
              <p:cNvPr id="1054" name="Group 1053">
                <a:extLst>
                  <a:ext uri="{FF2B5EF4-FFF2-40B4-BE49-F238E27FC236}">
                    <a16:creationId xmlns:a16="http://schemas.microsoft.com/office/drawing/2014/main" id="{1A1CA4E9-12FA-47EB-8471-25E8D55152C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697284" y="-1"/>
                <a:ext cx="884241" cy="6858001"/>
                <a:chOff x="3697284" y="-1"/>
                <a:chExt cx="884241" cy="6858001"/>
              </a:xfrm>
              <a:solidFill>
                <a:srgbClr val="FFFFFF"/>
              </a:solidFill>
              <a:effectLst/>
            </p:grpSpPr>
            <p:sp>
              <p:nvSpPr>
                <p:cNvPr id="1058" name="Freeform: Shape 1057">
                  <a:extLst>
                    <a:ext uri="{FF2B5EF4-FFF2-40B4-BE49-F238E27FC236}">
                      <a16:creationId xmlns:a16="http://schemas.microsoft.com/office/drawing/2014/main" id="{E13A9BF0-334C-4457-A635-9CA4877EAAF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05641"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59" name="Freeform: Shape 1058">
                  <a:extLst>
                    <a:ext uri="{FF2B5EF4-FFF2-40B4-BE49-F238E27FC236}">
                      <a16:creationId xmlns:a16="http://schemas.microsoft.com/office/drawing/2014/main" id="{FF05821A-8598-44E4-A18C-538D5331E45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15166"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1055" name="Group 1054">
                <a:extLst>
                  <a:ext uri="{FF2B5EF4-FFF2-40B4-BE49-F238E27FC236}">
                    <a16:creationId xmlns:a16="http://schemas.microsoft.com/office/drawing/2014/main" id="{8A4ECC81-E17F-4F87-9A0B-398363A864A4}"/>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697284" y="0"/>
                <a:ext cx="884241" cy="6858001"/>
                <a:chOff x="3697284" y="-1"/>
                <a:chExt cx="884241" cy="6858001"/>
              </a:xfrm>
              <a:blipFill>
                <a:blip r:embed="rId3">
                  <a:alphaModFix amt="57000"/>
                </a:blip>
                <a:tile tx="0" ty="0" sx="100000" sy="100000" flip="none" algn="tl"/>
              </a:blipFill>
              <a:effectLst/>
            </p:grpSpPr>
            <p:sp>
              <p:nvSpPr>
                <p:cNvPr id="1056" name="Freeform: Shape 1055">
                  <a:extLst>
                    <a:ext uri="{FF2B5EF4-FFF2-40B4-BE49-F238E27FC236}">
                      <a16:creationId xmlns:a16="http://schemas.microsoft.com/office/drawing/2014/main" id="{1FBBD7D8-A895-40D0-A53D-DEDF495B2F1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05641"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57" name="Freeform: Shape 1056">
                  <a:extLst>
                    <a:ext uri="{FF2B5EF4-FFF2-40B4-BE49-F238E27FC236}">
                      <a16:creationId xmlns:a16="http://schemas.microsoft.com/office/drawing/2014/main" id="{BA602493-BC70-48CF-BDBA-88A86622742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15166"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grpSp>
      <p:sp>
        <p:nvSpPr>
          <p:cNvPr id="3" name="Date Placeholder 2">
            <a:extLst>
              <a:ext uri="{FF2B5EF4-FFF2-40B4-BE49-F238E27FC236}">
                <a16:creationId xmlns:a16="http://schemas.microsoft.com/office/drawing/2014/main" id="{68AA79BA-C8A8-628A-73C2-B02BDBBD521D}"/>
              </a:ext>
            </a:extLst>
          </p:cNvPr>
          <p:cNvSpPr>
            <a:spLocks noGrp="1"/>
          </p:cNvSpPr>
          <p:nvPr>
            <p:ph type="dt" sz="half" idx="10"/>
          </p:nvPr>
        </p:nvSpPr>
        <p:spPr>
          <a:xfrm>
            <a:off x="838200" y="476250"/>
            <a:ext cx="2743200" cy="365125"/>
          </a:xfrm>
        </p:spPr>
        <p:txBody>
          <a:bodyPr vert="horz" lIns="91440" tIns="45720" rIns="91440" bIns="45720" rtlCol="0" anchor="ctr">
            <a:normAutofit/>
          </a:bodyPr>
          <a:lstStyle/>
          <a:p>
            <a:pPr>
              <a:spcAft>
                <a:spcPts val="600"/>
              </a:spcAft>
            </a:pPr>
            <a:fld id="{2CD9D6C2-B4D4-EB4F-BE71-BD5B6DC5C212}" type="datetime1">
              <a:rPr lang="en-US" sz="1000">
                <a:solidFill>
                  <a:schemeClr val="bg1">
                    <a:alpha val="60000"/>
                  </a:schemeClr>
                </a:solidFill>
              </a:rPr>
              <a:pPr>
                <a:spcAft>
                  <a:spcPts val="600"/>
                </a:spcAft>
              </a:pPr>
              <a:t>9/18/24</a:t>
            </a:fld>
            <a:endParaRPr lang="en-US" sz="1000">
              <a:solidFill>
                <a:schemeClr val="bg1">
                  <a:alpha val="60000"/>
                </a:schemeClr>
              </a:solidFill>
            </a:endParaRPr>
          </a:p>
        </p:txBody>
      </p:sp>
      <p:sp>
        <p:nvSpPr>
          <p:cNvPr id="5" name="Slide Number Placeholder 4">
            <a:extLst>
              <a:ext uri="{FF2B5EF4-FFF2-40B4-BE49-F238E27FC236}">
                <a16:creationId xmlns:a16="http://schemas.microsoft.com/office/drawing/2014/main" id="{9CBF945E-AB53-1BCE-2B50-CC1698A5F8C4}"/>
              </a:ext>
            </a:extLst>
          </p:cNvPr>
          <p:cNvSpPr>
            <a:spLocks noGrp="1"/>
          </p:cNvSpPr>
          <p:nvPr>
            <p:ph type="sldNum" sz="quarter" idx="12"/>
          </p:nvPr>
        </p:nvSpPr>
        <p:spPr>
          <a:xfrm>
            <a:off x="8737600" y="466933"/>
            <a:ext cx="2635250" cy="707886"/>
          </a:xfrm>
        </p:spPr>
        <p:txBody>
          <a:bodyPr vert="horz" lIns="91440" tIns="45720" rIns="91440" bIns="45720" rtlCol="0" anchor="ctr">
            <a:normAutofit/>
          </a:bodyPr>
          <a:lstStyle/>
          <a:p>
            <a:pPr>
              <a:lnSpc>
                <a:spcPct val="90000"/>
              </a:lnSpc>
              <a:spcAft>
                <a:spcPts val="600"/>
              </a:spcAft>
            </a:pPr>
            <a:fld id="{864F6FD7-2FFA-4E2A-8671-45222C163BF2}" type="slidenum">
              <a:rPr lang="en-US" sz="4400">
                <a:solidFill>
                  <a:srgbClr val="FFFFFF"/>
                </a:solidFill>
              </a:rPr>
              <a:pPr>
                <a:lnSpc>
                  <a:spcPct val="90000"/>
                </a:lnSpc>
                <a:spcAft>
                  <a:spcPts val="600"/>
                </a:spcAft>
              </a:pPr>
              <a:t>4</a:t>
            </a:fld>
            <a:endParaRPr lang="en-US" sz="4400">
              <a:solidFill>
                <a:srgbClr val="FFFFFF"/>
              </a:solidFill>
            </a:endParaRPr>
          </a:p>
        </p:txBody>
      </p:sp>
      <p:sp>
        <p:nvSpPr>
          <p:cNvPr id="4" name="Footer Placeholder 3">
            <a:extLst>
              <a:ext uri="{FF2B5EF4-FFF2-40B4-BE49-F238E27FC236}">
                <a16:creationId xmlns:a16="http://schemas.microsoft.com/office/drawing/2014/main" id="{06793E6E-3EF6-E7BC-5896-66CA931EA6CE}"/>
              </a:ext>
            </a:extLst>
          </p:cNvPr>
          <p:cNvSpPr>
            <a:spLocks noGrp="1"/>
          </p:cNvSpPr>
          <p:nvPr>
            <p:ph type="ftr" sz="quarter" idx="11"/>
          </p:nvPr>
        </p:nvSpPr>
        <p:spPr>
          <a:xfrm>
            <a:off x="209546" y="4731027"/>
            <a:ext cx="3497262" cy="1902515"/>
          </a:xfrm>
        </p:spPr>
        <p:txBody>
          <a:bodyPr vert="horz" lIns="91440" tIns="45720" rIns="91440" bIns="45720" rtlCol="0" anchor="ctr">
            <a:noAutofit/>
          </a:bodyPr>
          <a:lstStyle/>
          <a:p>
            <a:pPr algn="r"/>
            <a:r>
              <a:rPr lang="en-US" sz="2400" kern="1200" dirty="0">
                <a:solidFill>
                  <a:srgbClr val="FFFFFF"/>
                </a:solidFill>
                <a:latin typeface="+mn-lt"/>
                <a:ea typeface="+mn-ea"/>
                <a:cs typeface="+mn-cs"/>
              </a:rPr>
              <a:t>Algorithms determine our information diet. Are we being healthy?</a:t>
            </a:r>
          </a:p>
        </p:txBody>
      </p:sp>
      <p:sp>
        <p:nvSpPr>
          <p:cNvPr id="2" name="Title 1">
            <a:extLst>
              <a:ext uri="{FF2B5EF4-FFF2-40B4-BE49-F238E27FC236}">
                <a16:creationId xmlns:a16="http://schemas.microsoft.com/office/drawing/2014/main" id="{A58025DA-C965-316E-EEE8-2A70496D46CD}"/>
              </a:ext>
            </a:extLst>
          </p:cNvPr>
          <p:cNvSpPr>
            <a:spLocks noGrp="1"/>
          </p:cNvSpPr>
          <p:nvPr>
            <p:ph type="title"/>
          </p:nvPr>
        </p:nvSpPr>
        <p:spPr/>
        <p:txBody>
          <a:bodyPr/>
          <a:lstStyle/>
          <a:p>
            <a:r>
              <a:rPr lang="en-US" dirty="0">
                <a:solidFill>
                  <a:schemeClr val="bg1"/>
                </a:solidFill>
              </a:rPr>
              <a:t>What are we feeding us?</a:t>
            </a:r>
          </a:p>
        </p:txBody>
      </p:sp>
    </p:spTree>
    <p:extLst>
      <p:ext uri="{BB962C8B-B14F-4D97-AF65-F5344CB8AC3E}">
        <p14:creationId xmlns:p14="http://schemas.microsoft.com/office/powerpoint/2010/main" val="32389025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2" descr="TikTok Feeds Teens a Diet of Darkness - WSJ">
            <a:extLst>
              <a:ext uri="{FF2B5EF4-FFF2-40B4-BE49-F238E27FC236}">
                <a16:creationId xmlns:a16="http://schemas.microsoft.com/office/drawing/2014/main" id="{814891CB-D6E4-5F02-4608-11CD5C3D8C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669" r="5458"/>
          <a:stretch/>
        </p:blipFill>
        <p:spPr bwMode="auto">
          <a:xfrm>
            <a:off x="3882570" y="10"/>
            <a:ext cx="8309429" cy="6857990"/>
          </a:xfrm>
          <a:custGeom>
            <a:avLst/>
            <a:gdLst/>
            <a:ahLst/>
            <a:cxnLst/>
            <a:rect l="l" t="t" r="r" b="b"/>
            <a:pathLst>
              <a:path w="12192000" h="6858000">
                <a:moveTo>
                  <a:pt x="0" y="0"/>
                </a:moveTo>
                <a:lnTo>
                  <a:pt x="12192000" y="0"/>
                </a:lnTo>
                <a:lnTo>
                  <a:pt x="12192000"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grpSp>
        <p:nvGrpSpPr>
          <p:cNvPr id="2055" name="Group 2054">
            <a:extLst>
              <a:ext uri="{FF2B5EF4-FFF2-40B4-BE49-F238E27FC236}">
                <a16:creationId xmlns:a16="http://schemas.microsoft.com/office/drawing/2014/main" id="{63737881-458F-40AD-B72B-B57D267DC42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 y="-1"/>
            <a:ext cx="4581527" cy="6858002"/>
            <a:chOff x="-2" y="-1"/>
            <a:chExt cx="4581527" cy="6858002"/>
          </a:xfrm>
          <a:effectLst>
            <a:outerShdw blurRad="381000" dist="50800" algn="ctr" rotWithShape="0">
              <a:srgbClr val="000000">
                <a:alpha val="10000"/>
              </a:srgbClr>
            </a:outerShdw>
          </a:effectLst>
        </p:grpSpPr>
        <p:sp>
          <p:nvSpPr>
            <p:cNvPr id="2056" name="Freeform: Shape 2055">
              <a:extLst>
                <a:ext uri="{FF2B5EF4-FFF2-40B4-BE49-F238E27FC236}">
                  <a16:creationId xmlns:a16="http://schemas.microsoft.com/office/drawing/2014/main" id="{C2967126-346F-41EA-982D-63D8EBB60D1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 y="-1"/>
              <a:ext cx="4572002" cy="6858002"/>
            </a:xfrm>
            <a:custGeom>
              <a:avLst/>
              <a:gdLst>
                <a:gd name="connsiteX0" fmla="*/ 4214994 w 4572002"/>
                <a:gd name="connsiteY0" fmla="*/ 6564620 h 6858002"/>
                <a:gd name="connsiteX1" fmla="*/ 4214994 w 4572002"/>
                <a:gd name="connsiteY1" fmla="*/ 6564621 h 6858002"/>
                <a:gd name="connsiteX2" fmla="*/ 4237474 w 4572002"/>
                <a:gd name="connsiteY2" fmla="*/ 6588626 h 6858002"/>
                <a:gd name="connsiteX3" fmla="*/ 4254096 w 4572002"/>
                <a:gd name="connsiteY3" fmla="*/ 6625225 h 6858002"/>
                <a:gd name="connsiteX4" fmla="*/ 4247001 w 4572002"/>
                <a:gd name="connsiteY4" fmla="*/ 6662540 h 6858002"/>
                <a:gd name="connsiteX5" fmla="*/ 4247000 w 4572002"/>
                <a:gd name="connsiteY5" fmla="*/ 6662541 h 6858002"/>
                <a:gd name="connsiteX6" fmla="*/ 4246999 w 4572002"/>
                <a:gd name="connsiteY6" fmla="*/ 6662544 h 6858002"/>
                <a:gd name="connsiteX7" fmla="*/ 4235550 w 4572002"/>
                <a:gd name="connsiteY7" fmla="*/ 6683027 h 6858002"/>
                <a:gd name="connsiteX8" fmla="*/ 4232403 w 4572002"/>
                <a:gd name="connsiteY8" fmla="*/ 6702976 h 6858002"/>
                <a:gd name="connsiteX9" fmla="*/ 4232403 w 4572002"/>
                <a:gd name="connsiteY9" fmla="*/ 6702977 h 6858002"/>
                <a:gd name="connsiteX10" fmla="*/ 4246238 w 4572002"/>
                <a:gd name="connsiteY10" fmla="*/ 6742553 h 6858002"/>
                <a:gd name="connsiteX11" fmla="*/ 4246239 w 4572002"/>
                <a:gd name="connsiteY11" fmla="*/ 6742555 h 6858002"/>
                <a:gd name="connsiteX12" fmla="*/ 4265716 w 4572002"/>
                <a:gd name="connsiteY12" fmla="*/ 6812062 h 6858002"/>
                <a:gd name="connsiteX13" fmla="*/ 4265717 w 4572002"/>
                <a:gd name="connsiteY13" fmla="*/ 6812064 h 6858002"/>
                <a:gd name="connsiteX14" fmla="*/ 4265717 w 4572002"/>
                <a:gd name="connsiteY14" fmla="*/ 6812063 h 6858002"/>
                <a:gd name="connsiteX15" fmla="*/ 4265716 w 4572002"/>
                <a:gd name="connsiteY15" fmla="*/ 6812062 h 6858002"/>
                <a:gd name="connsiteX16" fmla="*/ 4260942 w 4572002"/>
                <a:gd name="connsiteY16" fmla="*/ 6776800 h 6858002"/>
                <a:gd name="connsiteX17" fmla="*/ 4246239 w 4572002"/>
                <a:gd name="connsiteY17" fmla="*/ 6742555 h 6858002"/>
                <a:gd name="connsiteX18" fmla="*/ 4246238 w 4572002"/>
                <a:gd name="connsiteY18" fmla="*/ 6742552 h 6858002"/>
                <a:gd name="connsiteX19" fmla="*/ 4232403 w 4572002"/>
                <a:gd name="connsiteY19" fmla="*/ 6702976 h 6858002"/>
                <a:gd name="connsiteX20" fmla="*/ 4246999 w 4572002"/>
                <a:gd name="connsiteY20" fmla="*/ 6662544 h 6858002"/>
                <a:gd name="connsiteX21" fmla="*/ 4247000 w 4572002"/>
                <a:gd name="connsiteY21" fmla="*/ 6662542 h 6858002"/>
                <a:gd name="connsiteX22" fmla="*/ 4247001 w 4572002"/>
                <a:gd name="connsiteY22" fmla="*/ 6662540 h 6858002"/>
                <a:gd name="connsiteX23" fmla="*/ 4254084 w 4572002"/>
                <a:gd name="connsiteY23" fmla="*/ 6645552 h 6858002"/>
                <a:gd name="connsiteX24" fmla="*/ 4254096 w 4572002"/>
                <a:gd name="connsiteY24" fmla="*/ 6625225 h 6858002"/>
                <a:gd name="connsiteX25" fmla="*/ 4254096 w 4572002"/>
                <a:gd name="connsiteY25" fmla="*/ 6625224 h 6858002"/>
                <a:gd name="connsiteX26" fmla="*/ 4237474 w 4572002"/>
                <a:gd name="connsiteY26" fmla="*/ 6588625 h 6858002"/>
                <a:gd name="connsiteX27" fmla="*/ 4295315 w 4572002"/>
                <a:gd name="connsiteY27" fmla="*/ 6438981 h 6858002"/>
                <a:gd name="connsiteX28" fmla="*/ 4275385 w 4572002"/>
                <a:gd name="connsiteY28" fmla="*/ 6463840 h 6858002"/>
                <a:gd name="connsiteX29" fmla="*/ 4275382 w 4572002"/>
                <a:gd name="connsiteY29" fmla="*/ 6463849 h 6858002"/>
                <a:gd name="connsiteX30" fmla="*/ 4261587 w 4572002"/>
                <a:gd name="connsiteY30" fmla="*/ 6513012 h 6858002"/>
                <a:gd name="connsiteX31" fmla="*/ 4242781 w 4572002"/>
                <a:gd name="connsiteY31" fmla="*/ 6546194 h 6858002"/>
                <a:gd name="connsiteX32" fmla="*/ 4242781 w 4572002"/>
                <a:gd name="connsiteY32" fmla="*/ 6546195 h 6858002"/>
                <a:gd name="connsiteX33" fmla="*/ 4259120 w 4572002"/>
                <a:gd name="connsiteY33" fmla="*/ 6521804 h 6858002"/>
                <a:gd name="connsiteX34" fmla="*/ 4261587 w 4572002"/>
                <a:gd name="connsiteY34" fmla="*/ 6513012 h 6858002"/>
                <a:gd name="connsiteX35" fmla="*/ 4264398 w 4572002"/>
                <a:gd name="connsiteY35" fmla="*/ 6508052 h 6858002"/>
                <a:gd name="connsiteX36" fmla="*/ 4275382 w 4572002"/>
                <a:gd name="connsiteY36" fmla="*/ 6463849 h 6858002"/>
                <a:gd name="connsiteX37" fmla="*/ 4275385 w 4572002"/>
                <a:gd name="connsiteY37" fmla="*/ 6463841 h 6858002"/>
                <a:gd name="connsiteX38" fmla="*/ 4295315 w 4572002"/>
                <a:gd name="connsiteY38" fmla="*/ 6438981 h 6858002"/>
                <a:gd name="connsiteX39" fmla="*/ 4381289 w 4572002"/>
                <a:gd name="connsiteY39" fmla="*/ 6365204 h 6858002"/>
                <a:gd name="connsiteX40" fmla="*/ 4380008 w 4572002"/>
                <a:gd name="connsiteY40" fmla="*/ 6387910 h 6858002"/>
                <a:gd name="connsiteX41" fmla="*/ 4378243 w 4572002"/>
                <a:gd name="connsiteY41" fmla="*/ 6391549 h 6858002"/>
                <a:gd name="connsiteX42" fmla="*/ 4370589 w 4572002"/>
                <a:gd name="connsiteY42" fmla="*/ 6407332 h 6858002"/>
                <a:gd name="connsiteX43" fmla="*/ 4370589 w 4572002"/>
                <a:gd name="connsiteY43" fmla="*/ 6407333 h 6858002"/>
                <a:gd name="connsiteX44" fmla="*/ 4378243 w 4572002"/>
                <a:gd name="connsiteY44" fmla="*/ 6391549 h 6858002"/>
                <a:gd name="connsiteX45" fmla="*/ 4380008 w 4572002"/>
                <a:gd name="connsiteY45" fmla="*/ 6387910 h 6858002"/>
                <a:gd name="connsiteX46" fmla="*/ 4142220 w 4572002"/>
                <a:gd name="connsiteY46" fmla="*/ 4221391 h 6858002"/>
                <a:gd name="connsiteX47" fmla="*/ 4142220 w 4572002"/>
                <a:gd name="connsiteY47" fmla="*/ 4221392 h 6858002"/>
                <a:gd name="connsiteX48" fmla="*/ 4147936 w 4572002"/>
                <a:gd name="connsiteY48" fmla="*/ 4253015 h 6858002"/>
                <a:gd name="connsiteX49" fmla="*/ 4187752 w 4572002"/>
                <a:gd name="connsiteY49" fmla="*/ 4324646 h 6858002"/>
                <a:gd name="connsiteX50" fmla="*/ 4196706 w 4572002"/>
                <a:gd name="connsiteY50" fmla="*/ 4363891 h 6858002"/>
                <a:gd name="connsiteX51" fmla="*/ 4195944 w 4572002"/>
                <a:gd name="connsiteY51" fmla="*/ 4482004 h 6858002"/>
                <a:gd name="connsiteX52" fmla="*/ 4135934 w 4572002"/>
                <a:gd name="connsiteY52" fmla="*/ 4659174 h 6858002"/>
                <a:gd name="connsiteX53" fmla="*/ 4127932 w 4572002"/>
                <a:gd name="connsiteY53" fmla="*/ 4677655 h 6858002"/>
                <a:gd name="connsiteX54" fmla="*/ 4118025 w 4572002"/>
                <a:gd name="connsiteY54" fmla="*/ 4767764 h 6858002"/>
                <a:gd name="connsiteX55" fmla="*/ 4116716 w 4572002"/>
                <a:gd name="connsiteY55" fmla="*/ 4800483 h 6858002"/>
                <a:gd name="connsiteX56" fmla="*/ 4116716 w 4572002"/>
                <a:gd name="connsiteY56" fmla="*/ 4800484 h 6858002"/>
                <a:gd name="connsiteX57" fmla="*/ 4131552 w 4572002"/>
                <a:gd name="connsiteY57" fmla="*/ 4828917 h 6858002"/>
                <a:gd name="connsiteX58" fmla="*/ 4153733 w 4572002"/>
                <a:gd name="connsiteY58" fmla="*/ 4863343 h 6858002"/>
                <a:gd name="connsiteX59" fmla="*/ 4161262 w 4572002"/>
                <a:gd name="connsiteY59" fmla="*/ 4889275 h 6858002"/>
                <a:gd name="connsiteX60" fmla="*/ 4159557 w 4572002"/>
                <a:gd name="connsiteY60" fmla="*/ 4912168 h 6858002"/>
                <a:gd name="connsiteX61" fmla="*/ 4158155 w 4572002"/>
                <a:gd name="connsiteY61" fmla="*/ 4933804 h 6858002"/>
                <a:gd name="connsiteX62" fmla="*/ 4158155 w 4572002"/>
                <a:gd name="connsiteY62" fmla="*/ 4933805 h 6858002"/>
                <a:gd name="connsiteX63" fmla="*/ 4162914 w 4572002"/>
                <a:gd name="connsiteY63" fmla="*/ 4952673 h 6858002"/>
                <a:gd name="connsiteX64" fmla="*/ 4165707 w 4572002"/>
                <a:gd name="connsiteY64" fmla="*/ 4957454 h 6858002"/>
                <a:gd name="connsiteX65" fmla="*/ 4166985 w 4572002"/>
                <a:gd name="connsiteY65" fmla="*/ 4961456 h 6858002"/>
                <a:gd name="connsiteX66" fmla="*/ 4182989 w 4572002"/>
                <a:gd name="connsiteY66" fmla="*/ 4987038 h 6858002"/>
                <a:gd name="connsiteX67" fmla="*/ 4209468 w 4572002"/>
                <a:gd name="connsiteY67" fmla="*/ 5041522 h 6858002"/>
                <a:gd name="connsiteX68" fmla="*/ 4216684 w 4572002"/>
                <a:gd name="connsiteY68" fmla="*/ 5072376 h 6858002"/>
                <a:gd name="connsiteX69" fmla="*/ 4222587 w 4572002"/>
                <a:gd name="connsiteY69" fmla="*/ 5087441 h 6858002"/>
                <a:gd name="connsiteX70" fmla="*/ 4235615 w 4572002"/>
                <a:gd name="connsiteY70" fmla="*/ 5133220 h 6858002"/>
                <a:gd name="connsiteX71" fmla="*/ 4235616 w 4572002"/>
                <a:gd name="connsiteY71" fmla="*/ 5133225 h 6858002"/>
                <a:gd name="connsiteX72" fmla="*/ 4228901 w 4572002"/>
                <a:gd name="connsiteY72" fmla="*/ 5166113 h 6858002"/>
                <a:gd name="connsiteX73" fmla="*/ 4228901 w 4572002"/>
                <a:gd name="connsiteY73" fmla="*/ 5166114 h 6858002"/>
                <a:gd name="connsiteX74" fmla="*/ 4229593 w 4572002"/>
                <a:gd name="connsiteY74" fmla="*/ 5172091 h 6858002"/>
                <a:gd name="connsiteX75" fmla="*/ 4232139 w 4572002"/>
                <a:gd name="connsiteY75" fmla="*/ 5179068 h 6858002"/>
                <a:gd name="connsiteX76" fmla="*/ 4231973 w 4572002"/>
                <a:gd name="connsiteY76" fmla="*/ 5229434 h 6858002"/>
                <a:gd name="connsiteX77" fmla="*/ 4225669 w 4572002"/>
                <a:gd name="connsiteY77" fmla="*/ 5241089 h 6858002"/>
                <a:gd name="connsiteX78" fmla="*/ 4208517 w 4572002"/>
                <a:gd name="connsiteY78" fmla="*/ 5272796 h 6858002"/>
                <a:gd name="connsiteX79" fmla="*/ 4184613 w 4572002"/>
                <a:gd name="connsiteY79" fmla="*/ 5312288 h 6858002"/>
                <a:gd name="connsiteX80" fmla="*/ 4183557 w 4572002"/>
                <a:gd name="connsiteY80" fmla="*/ 5321350 h 6858002"/>
                <a:gd name="connsiteX81" fmla="*/ 4181083 w 4572002"/>
                <a:gd name="connsiteY81" fmla="*/ 5326163 h 6858002"/>
                <a:gd name="connsiteX82" fmla="*/ 4179637 w 4572002"/>
                <a:gd name="connsiteY82" fmla="*/ 5355014 h 6858002"/>
                <a:gd name="connsiteX83" fmla="*/ 4179637 w 4572002"/>
                <a:gd name="connsiteY83" fmla="*/ 5355015 h 6858002"/>
                <a:gd name="connsiteX84" fmla="*/ 4184513 w 4572002"/>
                <a:gd name="connsiteY84" fmla="*/ 5385385 h 6858002"/>
                <a:gd name="connsiteX85" fmla="*/ 4192704 w 4572002"/>
                <a:gd name="connsiteY85" fmla="*/ 5425583 h 6858002"/>
                <a:gd name="connsiteX86" fmla="*/ 4204327 w 4572002"/>
                <a:gd name="connsiteY86" fmla="*/ 5480638 h 6858002"/>
                <a:gd name="connsiteX87" fmla="*/ 4208850 w 4572002"/>
                <a:gd name="connsiteY87" fmla="*/ 5507668 h 6858002"/>
                <a:gd name="connsiteX88" fmla="*/ 4198232 w 4572002"/>
                <a:gd name="connsiteY88" fmla="*/ 5531692 h 6858002"/>
                <a:gd name="connsiteX89" fmla="*/ 4198231 w 4572002"/>
                <a:gd name="connsiteY89" fmla="*/ 5531693 h 6858002"/>
                <a:gd name="connsiteX90" fmla="*/ 4188085 w 4572002"/>
                <a:gd name="connsiteY90" fmla="*/ 5547578 h 6858002"/>
                <a:gd name="connsiteX91" fmla="*/ 4188085 w 4572002"/>
                <a:gd name="connsiteY91" fmla="*/ 5547579 h 6858002"/>
                <a:gd name="connsiteX92" fmla="*/ 4197659 w 4572002"/>
                <a:gd name="connsiteY92" fmla="*/ 5562747 h 6858002"/>
                <a:gd name="connsiteX93" fmla="*/ 4268907 w 4572002"/>
                <a:gd name="connsiteY93" fmla="*/ 5704484 h 6858002"/>
                <a:gd name="connsiteX94" fmla="*/ 4274812 w 4572002"/>
                <a:gd name="connsiteY94" fmla="*/ 5740489 h 6858002"/>
                <a:gd name="connsiteX95" fmla="*/ 4283578 w 4572002"/>
                <a:gd name="connsiteY95" fmla="*/ 5760874 h 6858002"/>
                <a:gd name="connsiteX96" fmla="*/ 4371973 w 4572002"/>
                <a:gd name="connsiteY96" fmla="*/ 5883752 h 6858002"/>
                <a:gd name="connsiteX97" fmla="*/ 4371974 w 4572002"/>
                <a:gd name="connsiteY97" fmla="*/ 5883757 h 6858002"/>
                <a:gd name="connsiteX98" fmla="*/ 4389877 w 4572002"/>
                <a:gd name="connsiteY98" fmla="*/ 5935946 h 6858002"/>
                <a:gd name="connsiteX99" fmla="*/ 4389878 w 4572002"/>
                <a:gd name="connsiteY99" fmla="*/ 5935950 h 6858002"/>
                <a:gd name="connsiteX100" fmla="*/ 4386259 w 4572002"/>
                <a:gd name="connsiteY100" fmla="*/ 5993290 h 6858002"/>
                <a:gd name="connsiteX101" fmla="*/ 4386259 w 4572002"/>
                <a:gd name="connsiteY101" fmla="*/ 5993291 h 6858002"/>
                <a:gd name="connsiteX102" fmla="*/ 4379782 w 4572002"/>
                <a:gd name="connsiteY102" fmla="*/ 6026440 h 6858002"/>
                <a:gd name="connsiteX103" fmla="*/ 4323583 w 4572002"/>
                <a:gd name="connsiteY103" fmla="*/ 6108738 h 6858002"/>
                <a:gd name="connsiteX104" fmla="*/ 4309890 w 4572002"/>
                <a:gd name="connsiteY104" fmla="*/ 6133314 h 6858002"/>
                <a:gd name="connsiteX105" fmla="*/ 4309890 w 4572002"/>
                <a:gd name="connsiteY105" fmla="*/ 6133315 h 6858002"/>
                <a:gd name="connsiteX106" fmla="*/ 4313591 w 4572002"/>
                <a:gd name="connsiteY106" fmla="*/ 6143190 h 6858002"/>
                <a:gd name="connsiteX107" fmla="*/ 4325486 w 4572002"/>
                <a:gd name="connsiteY107" fmla="*/ 6155600 h 6858002"/>
                <a:gd name="connsiteX108" fmla="*/ 4325488 w 4572002"/>
                <a:gd name="connsiteY108" fmla="*/ 6155603 h 6858002"/>
                <a:gd name="connsiteX109" fmla="*/ 4364160 w 4572002"/>
                <a:gd name="connsiteY109" fmla="*/ 6228757 h 6858002"/>
                <a:gd name="connsiteX110" fmla="*/ 4381497 w 4572002"/>
                <a:gd name="connsiteY110" fmla="*/ 6361540 h 6858002"/>
                <a:gd name="connsiteX111" fmla="*/ 4381497 w 4572002"/>
                <a:gd name="connsiteY111" fmla="*/ 6361539 h 6858002"/>
                <a:gd name="connsiteX112" fmla="*/ 4364160 w 4572002"/>
                <a:gd name="connsiteY112" fmla="*/ 6228756 h 6858002"/>
                <a:gd name="connsiteX113" fmla="*/ 4325488 w 4572002"/>
                <a:gd name="connsiteY113" fmla="*/ 6155602 h 6858002"/>
                <a:gd name="connsiteX114" fmla="*/ 4325486 w 4572002"/>
                <a:gd name="connsiteY114" fmla="*/ 6155600 h 6858002"/>
                <a:gd name="connsiteX115" fmla="*/ 4309890 w 4572002"/>
                <a:gd name="connsiteY115" fmla="*/ 6133315 h 6858002"/>
                <a:gd name="connsiteX116" fmla="*/ 4323583 w 4572002"/>
                <a:gd name="connsiteY116" fmla="*/ 6108739 h 6858002"/>
                <a:gd name="connsiteX117" fmla="*/ 4379782 w 4572002"/>
                <a:gd name="connsiteY117" fmla="*/ 6026441 h 6858002"/>
                <a:gd name="connsiteX118" fmla="*/ 4386259 w 4572002"/>
                <a:gd name="connsiteY118" fmla="*/ 5993292 h 6858002"/>
                <a:gd name="connsiteX119" fmla="*/ 4386259 w 4572002"/>
                <a:gd name="connsiteY119" fmla="*/ 5993290 h 6858002"/>
                <a:gd name="connsiteX120" fmla="*/ 4389712 w 4572002"/>
                <a:gd name="connsiteY120" fmla="*/ 5964477 h 6858002"/>
                <a:gd name="connsiteX121" fmla="*/ 4389878 w 4572002"/>
                <a:gd name="connsiteY121" fmla="*/ 5935950 h 6858002"/>
                <a:gd name="connsiteX122" fmla="*/ 4389878 w 4572002"/>
                <a:gd name="connsiteY122" fmla="*/ 5935949 h 6858002"/>
                <a:gd name="connsiteX123" fmla="*/ 4389877 w 4572002"/>
                <a:gd name="connsiteY123" fmla="*/ 5935946 h 6858002"/>
                <a:gd name="connsiteX124" fmla="*/ 4382997 w 4572002"/>
                <a:gd name="connsiteY124" fmla="*/ 5909351 h 6858002"/>
                <a:gd name="connsiteX125" fmla="*/ 4371974 w 4572002"/>
                <a:gd name="connsiteY125" fmla="*/ 5883757 h 6858002"/>
                <a:gd name="connsiteX126" fmla="*/ 4371973 w 4572002"/>
                <a:gd name="connsiteY126" fmla="*/ 5883751 h 6858002"/>
                <a:gd name="connsiteX127" fmla="*/ 4283578 w 4572002"/>
                <a:gd name="connsiteY127" fmla="*/ 5760873 h 6858002"/>
                <a:gd name="connsiteX128" fmla="*/ 4274812 w 4572002"/>
                <a:gd name="connsiteY128" fmla="*/ 5740488 h 6858002"/>
                <a:gd name="connsiteX129" fmla="*/ 4268907 w 4572002"/>
                <a:gd name="connsiteY129" fmla="*/ 5704483 h 6858002"/>
                <a:gd name="connsiteX130" fmla="*/ 4197659 w 4572002"/>
                <a:gd name="connsiteY130" fmla="*/ 5562746 h 6858002"/>
                <a:gd name="connsiteX131" fmla="*/ 4188085 w 4572002"/>
                <a:gd name="connsiteY131" fmla="*/ 5547578 h 6858002"/>
                <a:gd name="connsiteX132" fmla="*/ 4198231 w 4572002"/>
                <a:gd name="connsiteY132" fmla="*/ 5531694 h 6858002"/>
                <a:gd name="connsiteX133" fmla="*/ 4198232 w 4572002"/>
                <a:gd name="connsiteY133" fmla="*/ 5531692 h 6858002"/>
                <a:gd name="connsiteX134" fmla="*/ 4206630 w 4572002"/>
                <a:gd name="connsiteY134" fmla="*/ 5520422 h 6858002"/>
                <a:gd name="connsiteX135" fmla="*/ 4208850 w 4572002"/>
                <a:gd name="connsiteY135" fmla="*/ 5507668 h 6858002"/>
                <a:gd name="connsiteX136" fmla="*/ 4208850 w 4572002"/>
                <a:gd name="connsiteY136" fmla="*/ 5507667 h 6858002"/>
                <a:gd name="connsiteX137" fmla="*/ 4204327 w 4572002"/>
                <a:gd name="connsiteY137" fmla="*/ 5480637 h 6858002"/>
                <a:gd name="connsiteX138" fmla="*/ 4192704 w 4572002"/>
                <a:gd name="connsiteY138" fmla="*/ 5425582 h 6858002"/>
                <a:gd name="connsiteX139" fmla="*/ 4184513 w 4572002"/>
                <a:gd name="connsiteY139" fmla="*/ 5385384 h 6858002"/>
                <a:gd name="connsiteX140" fmla="*/ 4179637 w 4572002"/>
                <a:gd name="connsiteY140" fmla="*/ 5355014 h 6858002"/>
                <a:gd name="connsiteX141" fmla="*/ 4183557 w 4572002"/>
                <a:gd name="connsiteY141" fmla="*/ 5321350 h 6858002"/>
                <a:gd name="connsiteX142" fmla="*/ 4208517 w 4572002"/>
                <a:gd name="connsiteY142" fmla="*/ 5272797 h 6858002"/>
                <a:gd name="connsiteX143" fmla="*/ 4225669 w 4572002"/>
                <a:gd name="connsiteY143" fmla="*/ 5241089 h 6858002"/>
                <a:gd name="connsiteX144" fmla="*/ 4231973 w 4572002"/>
                <a:gd name="connsiteY144" fmla="*/ 5229433 h 6858002"/>
                <a:gd name="connsiteX145" fmla="*/ 4232139 w 4572002"/>
                <a:gd name="connsiteY145" fmla="*/ 5179068 h 6858002"/>
                <a:gd name="connsiteX146" fmla="*/ 4232139 w 4572002"/>
                <a:gd name="connsiteY146" fmla="*/ 5179067 h 6858002"/>
                <a:gd name="connsiteX147" fmla="*/ 4229593 w 4572002"/>
                <a:gd name="connsiteY147" fmla="*/ 5172090 h 6858002"/>
                <a:gd name="connsiteX148" fmla="*/ 4228901 w 4572002"/>
                <a:gd name="connsiteY148" fmla="*/ 5166114 h 6858002"/>
                <a:gd name="connsiteX149" fmla="*/ 4235616 w 4572002"/>
                <a:gd name="connsiteY149" fmla="*/ 5133225 h 6858002"/>
                <a:gd name="connsiteX150" fmla="*/ 4235616 w 4572002"/>
                <a:gd name="connsiteY150" fmla="*/ 5133224 h 6858002"/>
                <a:gd name="connsiteX151" fmla="*/ 4235615 w 4572002"/>
                <a:gd name="connsiteY151" fmla="*/ 5133220 h 6858002"/>
                <a:gd name="connsiteX152" fmla="*/ 4228473 w 4572002"/>
                <a:gd name="connsiteY152" fmla="*/ 5102461 h 6858002"/>
                <a:gd name="connsiteX153" fmla="*/ 4222587 w 4572002"/>
                <a:gd name="connsiteY153" fmla="*/ 5087441 h 6858002"/>
                <a:gd name="connsiteX154" fmla="*/ 4222582 w 4572002"/>
                <a:gd name="connsiteY154" fmla="*/ 5087423 h 6858002"/>
                <a:gd name="connsiteX155" fmla="*/ 4209468 w 4572002"/>
                <a:gd name="connsiteY155" fmla="*/ 5041521 h 6858002"/>
                <a:gd name="connsiteX156" fmla="*/ 4182989 w 4572002"/>
                <a:gd name="connsiteY156" fmla="*/ 4987037 h 6858002"/>
                <a:gd name="connsiteX157" fmla="*/ 4165707 w 4572002"/>
                <a:gd name="connsiteY157" fmla="*/ 4957454 h 6858002"/>
                <a:gd name="connsiteX158" fmla="*/ 4158155 w 4572002"/>
                <a:gd name="connsiteY158" fmla="*/ 4933805 h 6858002"/>
                <a:gd name="connsiteX159" fmla="*/ 4159557 w 4572002"/>
                <a:gd name="connsiteY159" fmla="*/ 4912169 h 6858002"/>
                <a:gd name="connsiteX160" fmla="*/ 4161262 w 4572002"/>
                <a:gd name="connsiteY160" fmla="*/ 4889276 h 6858002"/>
                <a:gd name="connsiteX161" fmla="*/ 4161262 w 4572002"/>
                <a:gd name="connsiteY161" fmla="*/ 4889275 h 6858002"/>
                <a:gd name="connsiteX162" fmla="*/ 4156484 w 4572002"/>
                <a:gd name="connsiteY162" fmla="*/ 4867614 h 6858002"/>
                <a:gd name="connsiteX163" fmla="*/ 4153733 w 4572002"/>
                <a:gd name="connsiteY163" fmla="*/ 4863343 h 6858002"/>
                <a:gd name="connsiteX164" fmla="*/ 4151983 w 4572002"/>
                <a:gd name="connsiteY164" fmla="*/ 4857317 h 6858002"/>
                <a:gd name="connsiteX165" fmla="*/ 4131552 w 4572002"/>
                <a:gd name="connsiteY165" fmla="*/ 4828916 h 6858002"/>
                <a:gd name="connsiteX166" fmla="*/ 4116716 w 4572002"/>
                <a:gd name="connsiteY166" fmla="*/ 4800483 h 6858002"/>
                <a:gd name="connsiteX167" fmla="*/ 4118025 w 4572002"/>
                <a:gd name="connsiteY167" fmla="*/ 4767765 h 6858002"/>
                <a:gd name="connsiteX168" fmla="*/ 4127932 w 4572002"/>
                <a:gd name="connsiteY168" fmla="*/ 4677656 h 6858002"/>
                <a:gd name="connsiteX169" fmla="*/ 4135934 w 4572002"/>
                <a:gd name="connsiteY169" fmla="*/ 4659175 h 6858002"/>
                <a:gd name="connsiteX170" fmla="*/ 4195944 w 4572002"/>
                <a:gd name="connsiteY170" fmla="*/ 4482005 h 6858002"/>
                <a:gd name="connsiteX171" fmla="*/ 4196706 w 4572002"/>
                <a:gd name="connsiteY171" fmla="*/ 4363891 h 6858002"/>
                <a:gd name="connsiteX172" fmla="*/ 4196706 w 4572002"/>
                <a:gd name="connsiteY172" fmla="*/ 4363890 h 6858002"/>
                <a:gd name="connsiteX173" fmla="*/ 4187752 w 4572002"/>
                <a:gd name="connsiteY173" fmla="*/ 4324645 h 6858002"/>
                <a:gd name="connsiteX174" fmla="*/ 4147936 w 4572002"/>
                <a:gd name="connsiteY174" fmla="*/ 4253014 h 6858002"/>
                <a:gd name="connsiteX175" fmla="*/ 4211111 w 4572002"/>
                <a:gd name="connsiteY175" fmla="*/ 2836172 h 6858002"/>
                <a:gd name="connsiteX176" fmla="*/ 4202421 w 4572002"/>
                <a:gd name="connsiteY176" fmla="*/ 2848793 h 6858002"/>
                <a:gd name="connsiteX177" fmla="*/ 4186816 w 4572002"/>
                <a:gd name="connsiteY177" fmla="*/ 2897785 h 6858002"/>
                <a:gd name="connsiteX178" fmla="*/ 4185787 w 4572002"/>
                <a:gd name="connsiteY178" fmla="*/ 2903551 h 6858002"/>
                <a:gd name="connsiteX179" fmla="*/ 4182513 w 4572002"/>
                <a:gd name="connsiteY179" fmla="*/ 2914328 h 6858002"/>
                <a:gd name="connsiteX180" fmla="*/ 4177882 w 4572002"/>
                <a:gd name="connsiteY180" fmla="*/ 2947858 h 6858002"/>
                <a:gd name="connsiteX181" fmla="*/ 4177881 w 4572002"/>
                <a:gd name="connsiteY181" fmla="*/ 2947862 h 6858002"/>
                <a:gd name="connsiteX182" fmla="*/ 4177881 w 4572002"/>
                <a:gd name="connsiteY182" fmla="*/ 2947863 h 6858002"/>
                <a:gd name="connsiteX183" fmla="*/ 4181465 w 4572002"/>
                <a:gd name="connsiteY183" fmla="*/ 2982149 h 6858002"/>
                <a:gd name="connsiteX184" fmla="*/ 4193158 w 4572002"/>
                <a:gd name="connsiteY184" fmla="*/ 3077402 h 6858002"/>
                <a:gd name="connsiteX185" fmla="*/ 4180703 w 4572002"/>
                <a:gd name="connsiteY185" fmla="*/ 3172654 h 6858002"/>
                <a:gd name="connsiteX186" fmla="*/ 4133076 w 4572002"/>
                <a:gd name="connsiteY186" fmla="*/ 3489467 h 6858002"/>
                <a:gd name="connsiteX187" fmla="*/ 4110977 w 4572002"/>
                <a:gd name="connsiteY187" fmla="*/ 3544713 h 6858002"/>
                <a:gd name="connsiteX188" fmla="*/ 4093355 w 4572002"/>
                <a:gd name="connsiteY188" fmla="*/ 3574408 h 6858002"/>
                <a:gd name="connsiteX189" fmla="*/ 4093355 w 4572002"/>
                <a:gd name="connsiteY189" fmla="*/ 3574409 h 6858002"/>
                <a:gd name="connsiteX190" fmla="*/ 4105453 w 4572002"/>
                <a:gd name="connsiteY190" fmla="*/ 3606818 h 6858002"/>
                <a:gd name="connsiteX191" fmla="*/ 4118979 w 4572002"/>
                <a:gd name="connsiteY191" fmla="*/ 3630633 h 6858002"/>
                <a:gd name="connsiteX192" fmla="*/ 4136708 w 4572002"/>
                <a:gd name="connsiteY192" fmla="*/ 3654416 h 6858002"/>
                <a:gd name="connsiteX193" fmla="*/ 4140382 w 4572002"/>
                <a:gd name="connsiteY193" fmla="*/ 3668940 h 6858002"/>
                <a:gd name="connsiteX194" fmla="*/ 4143220 w 4572002"/>
                <a:gd name="connsiteY194" fmla="*/ 3680164 h 6858002"/>
                <a:gd name="connsiteX195" fmla="*/ 4139172 w 4572002"/>
                <a:gd name="connsiteY195" fmla="*/ 3734837 h 6858002"/>
                <a:gd name="connsiteX196" fmla="*/ 4139172 w 4572002"/>
                <a:gd name="connsiteY196" fmla="*/ 3734838 h 6858002"/>
                <a:gd name="connsiteX197" fmla="*/ 4139554 w 4572002"/>
                <a:gd name="connsiteY197" fmla="*/ 3754653 h 6858002"/>
                <a:gd name="connsiteX198" fmla="*/ 4145911 w 4572002"/>
                <a:gd name="connsiteY198" fmla="*/ 3789776 h 6858002"/>
                <a:gd name="connsiteX199" fmla="*/ 4130980 w 4572002"/>
                <a:gd name="connsiteY199" fmla="*/ 3822472 h 6858002"/>
                <a:gd name="connsiteX200" fmla="*/ 4116645 w 4572002"/>
                <a:gd name="connsiteY200" fmla="*/ 3852619 h 6858002"/>
                <a:gd name="connsiteX201" fmla="*/ 4116645 w 4572002"/>
                <a:gd name="connsiteY201" fmla="*/ 3852620 h 6858002"/>
                <a:gd name="connsiteX202" fmla="*/ 4117425 w 4572002"/>
                <a:gd name="connsiteY202" fmla="*/ 3868764 h 6858002"/>
                <a:gd name="connsiteX203" fmla="*/ 4126028 w 4572002"/>
                <a:gd name="connsiteY203" fmla="*/ 3885337 h 6858002"/>
                <a:gd name="connsiteX204" fmla="*/ 4126028 w 4572002"/>
                <a:gd name="connsiteY204" fmla="*/ 3885339 h 6858002"/>
                <a:gd name="connsiteX205" fmla="*/ 4148409 w 4572002"/>
                <a:gd name="connsiteY205" fmla="*/ 3923125 h 6858002"/>
                <a:gd name="connsiteX206" fmla="*/ 4157913 w 4572002"/>
                <a:gd name="connsiteY206" fmla="*/ 3962160 h 6858002"/>
                <a:gd name="connsiteX207" fmla="*/ 4142221 w 4572002"/>
                <a:gd name="connsiteY207" fmla="*/ 4043838 h 6858002"/>
                <a:gd name="connsiteX208" fmla="*/ 4142220 w 4572002"/>
                <a:gd name="connsiteY208" fmla="*/ 4043839 h 6858002"/>
                <a:gd name="connsiteX209" fmla="*/ 4127099 w 4572002"/>
                <a:gd name="connsiteY209" fmla="*/ 4103825 h 6858002"/>
                <a:gd name="connsiteX210" fmla="*/ 4127099 w 4572002"/>
                <a:gd name="connsiteY210" fmla="*/ 4103826 h 6858002"/>
                <a:gd name="connsiteX211" fmla="*/ 4129066 w 4572002"/>
                <a:gd name="connsiteY211" fmla="*/ 4134256 h 6858002"/>
                <a:gd name="connsiteX212" fmla="*/ 4138410 w 4572002"/>
                <a:gd name="connsiteY212" fmla="*/ 4165382 h 6858002"/>
                <a:gd name="connsiteX213" fmla="*/ 4138410 w 4572002"/>
                <a:gd name="connsiteY213" fmla="*/ 4165384 h 6858002"/>
                <a:gd name="connsiteX214" fmla="*/ 4142315 w 4572002"/>
                <a:gd name="connsiteY214" fmla="*/ 4192388 h 6858002"/>
                <a:gd name="connsiteX215" fmla="*/ 4142315 w 4572002"/>
                <a:gd name="connsiteY215" fmla="*/ 4192387 h 6858002"/>
                <a:gd name="connsiteX216" fmla="*/ 4138410 w 4572002"/>
                <a:gd name="connsiteY216" fmla="*/ 4165383 h 6858002"/>
                <a:gd name="connsiteX217" fmla="*/ 4138410 w 4572002"/>
                <a:gd name="connsiteY217" fmla="*/ 4165382 h 6858002"/>
                <a:gd name="connsiteX218" fmla="*/ 4127099 w 4572002"/>
                <a:gd name="connsiteY218" fmla="*/ 4103826 h 6858002"/>
                <a:gd name="connsiteX219" fmla="*/ 4142220 w 4572002"/>
                <a:gd name="connsiteY219" fmla="*/ 4043840 h 6858002"/>
                <a:gd name="connsiteX220" fmla="*/ 4142221 w 4572002"/>
                <a:gd name="connsiteY220" fmla="*/ 4043838 h 6858002"/>
                <a:gd name="connsiteX221" fmla="*/ 4155523 w 4572002"/>
                <a:gd name="connsiteY221" fmla="*/ 4002410 h 6858002"/>
                <a:gd name="connsiteX222" fmla="*/ 4157913 w 4572002"/>
                <a:gd name="connsiteY222" fmla="*/ 3962160 h 6858002"/>
                <a:gd name="connsiteX223" fmla="*/ 4157913 w 4572002"/>
                <a:gd name="connsiteY223" fmla="*/ 3962159 h 6858002"/>
                <a:gd name="connsiteX224" fmla="*/ 4126028 w 4572002"/>
                <a:gd name="connsiteY224" fmla="*/ 3885338 h 6858002"/>
                <a:gd name="connsiteX225" fmla="*/ 4126028 w 4572002"/>
                <a:gd name="connsiteY225" fmla="*/ 3885337 h 6858002"/>
                <a:gd name="connsiteX226" fmla="*/ 4116645 w 4572002"/>
                <a:gd name="connsiteY226" fmla="*/ 3852620 h 6858002"/>
                <a:gd name="connsiteX227" fmla="*/ 4130980 w 4572002"/>
                <a:gd name="connsiteY227" fmla="*/ 3822473 h 6858002"/>
                <a:gd name="connsiteX228" fmla="*/ 4145911 w 4572002"/>
                <a:gd name="connsiteY228" fmla="*/ 3789777 h 6858002"/>
                <a:gd name="connsiteX229" fmla="*/ 4145911 w 4572002"/>
                <a:gd name="connsiteY229" fmla="*/ 3789776 h 6858002"/>
                <a:gd name="connsiteX230" fmla="*/ 4139554 w 4572002"/>
                <a:gd name="connsiteY230" fmla="*/ 3754652 h 6858002"/>
                <a:gd name="connsiteX231" fmla="*/ 4139172 w 4572002"/>
                <a:gd name="connsiteY231" fmla="*/ 3734838 h 6858002"/>
                <a:gd name="connsiteX232" fmla="*/ 4143220 w 4572002"/>
                <a:gd name="connsiteY232" fmla="*/ 3680164 h 6858002"/>
                <a:gd name="connsiteX233" fmla="*/ 4143220 w 4572002"/>
                <a:gd name="connsiteY233" fmla="*/ 3680163 h 6858002"/>
                <a:gd name="connsiteX234" fmla="*/ 4140382 w 4572002"/>
                <a:gd name="connsiteY234" fmla="*/ 3668940 h 6858002"/>
                <a:gd name="connsiteX235" fmla="*/ 4136708 w 4572002"/>
                <a:gd name="connsiteY235" fmla="*/ 3654416 h 6858002"/>
                <a:gd name="connsiteX236" fmla="*/ 4136708 w 4572002"/>
                <a:gd name="connsiteY236" fmla="*/ 3654416 h 6858002"/>
                <a:gd name="connsiteX237" fmla="*/ 4136708 w 4572002"/>
                <a:gd name="connsiteY237" fmla="*/ 3654415 h 6858002"/>
                <a:gd name="connsiteX238" fmla="*/ 4118979 w 4572002"/>
                <a:gd name="connsiteY238" fmla="*/ 3630632 h 6858002"/>
                <a:gd name="connsiteX239" fmla="*/ 4105453 w 4572002"/>
                <a:gd name="connsiteY239" fmla="*/ 3606817 h 6858002"/>
                <a:gd name="connsiteX240" fmla="*/ 4095707 w 4572002"/>
                <a:gd name="connsiteY240" fmla="*/ 3587174 h 6858002"/>
                <a:gd name="connsiteX241" fmla="*/ 4093355 w 4572002"/>
                <a:gd name="connsiteY241" fmla="*/ 3574408 h 6858002"/>
                <a:gd name="connsiteX242" fmla="*/ 4098434 w 4572002"/>
                <a:gd name="connsiteY242" fmla="*/ 3562321 h 6858002"/>
                <a:gd name="connsiteX243" fmla="*/ 4110977 w 4572002"/>
                <a:gd name="connsiteY243" fmla="*/ 3544714 h 6858002"/>
                <a:gd name="connsiteX244" fmla="*/ 4133076 w 4572002"/>
                <a:gd name="connsiteY244" fmla="*/ 3489468 h 6858002"/>
                <a:gd name="connsiteX245" fmla="*/ 4180703 w 4572002"/>
                <a:gd name="connsiteY245" fmla="*/ 3172655 h 6858002"/>
                <a:gd name="connsiteX246" fmla="*/ 4193158 w 4572002"/>
                <a:gd name="connsiteY246" fmla="*/ 3077402 h 6858002"/>
                <a:gd name="connsiteX247" fmla="*/ 4193158 w 4572002"/>
                <a:gd name="connsiteY247" fmla="*/ 3077401 h 6858002"/>
                <a:gd name="connsiteX248" fmla="*/ 4181465 w 4572002"/>
                <a:gd name="connsiteY248" fmla="*/ 2982148 h 6858002"/>
                <a:gd name="connsiteX249" fmla="*/ 4177881 w 4572002"/>
                <a:gd name="connsiteY249" fmla="*/ 2947863 h 6858002"/>
                <a:gd name="connsiteX250" fmla="*/ 4177882 w 4572002"/>
                <a:gd name="connsiteY250" fmla="*/ 2947858 h 6858002"/>
                <a:gd name="connsiteX251" fmla="*/ 4185787 w 4572002"/>
                <a:gd name="connsiteY251" fmla="*/ 2903551 h 6858002"/>
                <a:gd name="connsiteX252" fmla="*/ 4202421 w 4572002"/>
                <a:gd name="connsiteY252" fmla="*/ 2848794 h 6858002"/>
                <a:gd name="connsiteX253" fmla="*/ 4211111 w 4572002"/>
                <a:gd name="connsiteY253" fmla="*/ 2836173 h 6858002"/>
                <a:gd name="connsiteX254" fmla="*/ 3726625 w 4572002"/>
                <a:gd name="connsiteY254" fmla="*/ 1508458 h 6858002"/>
                <a:gd name="connsiteX255" fmla="*/ 3698531 w 4572002"/>
                <a:gd name="connsiteY255" fmla="*/ 1596214 h 6858002"/>
                <a:gd name="connsiteX256" fmla="*/ 3700436 w 4572002"/>
                <a:gd name="connsiteY256" fmla="*/ 1624981 h 6858002"/>
                <a:gd name="connsiteX257" fmla="*/ 3757017 w 4572002"/>
                <a:gd name="connsiteY257" fmla="*/ 1697754 h 6858002"/>
                <a:gd name="connsiteX258" fmla="*/ 3779686 w 4572002"/>
                <a:gd name="connsiteY258" fmla="*/ 1733189 h 6858002"/>
                <a:gd name="connsiteX259" fmla="*/ 3821407 w 4572002"/>
                <a:gd name="connsiteY259" fmla="*/ 1833776 h 6858002"/>
                <a:gd name="connsiteX260" fmla="*/ 3829028 w 4572002"/>
                <a:gd name="connsiteY260" fmla="*/ 1842159 h 6858002"/>
                <a:gd name="connsiteX261" fmla="*/ 3919519 w 4572002"/>
                <a:gd name="connsiteY261" fmla="*/ 1916455 h 6858002"/>
                <a:gd name="connsiteX262" fmla="*/ 3934949 w 4572002"/>
                <a:gd name="connsiteY262" fmla="*/ 1933220 h 6858002"/>
                <a:gd name="connsiteX263" fmla="*/ 3958954 w 4572002"/>
                <a:gd name="connsiteY263" fmla="*/ 1953414 h 6858002"/>
                <a:gd name="connsiteX264" fmla="*/ 4005437 w 4572002"/>
                <a:gd name="connsiteY264" fmla="*/ 2016470 h 6858002"/>
                <a:gd name="connsiteX265" fmla="*/ 4020296 w 4572002"/>
                <a:gd name="connsiteY265" fmla="*/ 2094579 h 6858002"/>
                <a:gd name="connsiteX266" fmla="*/ 4042967 w 4572002"/>
                <a:gd name="connsiteY266" fmla="*/ 2188880 h 6858002"/>
                <a:gd name="connsiteX267" fmla="*/ 4058207 w 4572002"/>
                <a:gd name="connsiteY267" fmla="*/ 2228315 h 6858002"/>
                <a:gd name="connsiteX268" fmla="*/ 4087164 w 4572002"/>
                <a:gd name="connsiteY268" fmla="*/ 2334045 h 6858002"/>
                <a:gd name="connsiteX269" fmla="*/ 4111549 w 4572002"/>
                <a:gd name="connsiteY269" fmla="*/ 2409486 h 6858002"/>
                <a:gd name="connsiteX270" fmla="*/ 4128650 w 4572002"/>
                <a:gd name="connsiteY270" fmla="*/ 2435913 h 6858002"/>
                <a:gd name="connsiteX271" fmla="*/ 4134481 w 4572002"/>
                <a:gd name="connsiteY271" fmla="*/ 2463018 h 6858002"/>
                <a:gd name="connsiteX272" fmla="*/ 4125839 w 4572002"/>
                <a:gd name="connsiteY272" fmla="*/ 2518262 h 6858002"/>
                <a:gd name="connsiteX273" fmla="*/ 4125838 w 4572002"/>
                <a:gd name="connsiteY273" fmla="*/ 2518264 h 6858002"/>
                <a:gd name="connsiteX274" fmla="*/ 4122194 w 4572002"/>
                <a:gd name="connsiteY274" fmla="*/ 2545006 h 6858002"/>
                <a:gd name="connsiteX275" fmla="*/ 4122194 w 4572002"/>
                <a:gd name="connsiteY275" fmla="*/ 2545007 h 6858002"/>
                <a:gd name="connsiteX276" fmla="*/ 4126408 w 4572002"/>
                <a:gd name="connsiteY276" fmla="*/ 2571035 h 6858002"/>
                <a:gd name="connsiteX277" fmla="*/ 4199563 w 4572002"/>
                <a:gd name="connsiteY277" fmla="*/ 2668002 h 6858002"/>
                <a:gd name="connsiteX278" fmla="*/ 4247953 w 4572002"/>
                <a:gd name="connsiteY278" fmla="*/ 2745349 h 6858002"/>
                <a:gd name="connsiteX279" fmla="*/ 4247954 w 4572002"/>
                <a:gd name="connsiteY279" fmla="*/ 2745352 h 6858002"/>
                <a:gd name="connsiteX280" fmla="*/ 4253873 w 4572002"/>
                <a:gd name="connsiteY280" fmla="*/ 2778006 h 6858002"/>
                <a:gd name="connsiteX281" fmla="*/ 4253453 w 4572002"/>
                <a:gd name="connsiteY281" fmla="*/ 2785440 h 6858002"/>
                <a:gd name="connsiteX282" fmla="*/ 4243374 w 4572002"/>
                <a:gd name="connsiteY282" fmla="*/ 2811780 h 6858002"/>
                <a:gd name="connsiteX283" fmla="*/ 4243371 w 4572002"/>
                <a:gd name="connsiteY283" fmla="*/ 2811787 h 6858002"/>
                <a:gd name="connsiteX284" fmla="*/ 4243372 w 4572002"/>
                <a:gd name="connsiteY284" fmla="*/ 2811787 h 6858002"/>
                <a:gd name="connsiteX285" fmla="*/ 4243374 w 4572002"/>
                <a:gd name="connsiteY285" fmla="*/ 2811780 h 6858002"/>
                <a:gd name="connsiteX286" fmla="*/ 4253025 w 4572002"/>
                <a:gd name="connsiteY286" fmla="*/ 2793023 h 6858002"/>
                <a:gd name="connsiteX287" fmla="*/ 4253453 w 4572002"/>
                <a:gd name="connsiteY287" fmla="*/ 2785440 h 6858002"/>
                <a:gd name="connsiteX288" fmla="*/ 4254654 w 4572002"/>
                <a:gd name="connsiteY288" fmla="*/ 2782305 h 6858002"/>
                <a:gd name="connsiteX289" fmla="*/ 4253873 w 4572002"/>
                <a:gd name="connsiteY289" fmla="*/ 2778006 h 6858002"/>
                <a:gd name="connsiteX290" fmla="*/ 4254284 w 4572002"/>
                <a:gd name="connsiteY290" fmla="*/ 2770758 h 6858002"/>
                <a:gd name="connsiteX291" fmla="*/ 4247954 w 4572002"/>
                <a:gd name="connsiteY291" fmla="*/ 2745352 h 6858002"/>
                <a:gd name="connsiteX292" fmla="*/ 4247953 w 4572002"/>
                <a:gd name="connsiteY292" fmla="*/ 2745348 h 6858002"/>
                <a:gd name="connsiteX293" fmla="*/ 4199563 w 4572002"/>
                <a:gd name="connsiteY293" fmla="*/ 2668001 h 6858002"/>
                <a:gd name="connsiteX294" fmla="*/ 4126408 w 4572002"/>
                <a:gd name="connsiteY294" fmla="*/ 2571034 h 6858002"/>
                <a:gd name="connsiteX295" fmla="*/ 4122194 w 4572002"/>
                <a:gd name="connsiteY295" fmla="*/ 2545007 h 6858002"/>
                <a:gd name="connsiteX296" fmla="*/ 4125838 w 4572002"/>
                <a:gd name="connsiteY296" fmla="*/ 2518265 h 6858002"/>
                <a:gd name="connsiteX297" fmla="*/ 4125839 w 4572002"/>
                <a:gd name="connsiteY297" fmla="*/ 2518262 h 6858002"/>
                <a:gd name="connsiteX298" fmla="*/ 4132419 w 4572002"/>
                <a:gd name="connsiteY298" fmla="*/ 2490551 h 6858002"/>
                <a:gd name="connsiteX299" fmla="*/ 4134481 w 4572002"/>
                <a:gd name="connsiteY299" fmla="*/ 2463018 h 6858002"/>
                <a:gd name="connsiteX300" fmla="*/ 4134481 w 4572002"/>
                <a:gd name="connsiteY300" fmla="*/ 2463017 h 6858002"/>
                <a:gd name="connsiteX301" fmla="*/ 4111549 w 4572002"/>
                <a:gd name="connsiteY301" fmla="*/ 2409485 h 6858002"/>
                <a:gd name="connsiteX302" fmla="*/ 4087164 w 4572002"/>
                <a:gd name="connsiteY302" fmla="*/ 2334044 h 6858002"/>
                <a:gd name="connsiteX303" fmla="*/ 4058207 w 4572002"/>
                <a:gd name="connsiteY303" fmla="*/ 2228314 h 6858002"/>
                <a:gd name="connsiteX304" fmla="*/ 4042967 w 4572002"/>
                <a:gd name="connsiteY304" fmla="*/ 2188879 h 6858002"/>
                <a:gd name="connsiteX305" fmla="*/ 4020296 w 4572002"/>
                <a:gd name="connsiteY305" fmla="*/ 2094578 h 6858002"/>
                <a:gd name="connsiteX306" fmla="*/ 4005437 w 4572002"/>
                <a:gd name="connsiteY306" fmla="*/ 2016469 h 6858002"/>
                <a:gd name="connsiteX307" fmla="*/ 3958954 w 4572002"/>
                <a:gd name="connsiteY307" fmla="*/ 1953413 h 6858002"/>
                <a:gd name="connsiteX308" fmla="*/ 3934949 w 4572002"/>
                <a:gd name="connsiteY308" fmla="*/ 1933219 h 6858002"/>
                <a:gd name="connsiteX309" fmla="*/ 3919519 w 4572002"/>
                <a:gd name="connsiteY309" fmla="*/ 1916454 h 6858002"/>
                <a:gd name="connsiteX310" fmla="*/ 3829028 w 4572002"/>
                <a:gd name="connsiteY310" fmla="*/ 1842158 h 6858002"/>
                <a:gd name="connsiteX311" fmla="*/ 3821407 w 4572002"/>
                <a:gd name="connsiteY311" fmla="*/ 1833775 h 6858002"/>
                <a:gd name="connsiteX312" fmla="*/ 3779686 w 4572002"/>
                <a:gd name="connsiteY312" fmla="*/ 1733188 h 6858002"/>
                <a:gd name="connsiteX313" fmla="*/ 3757018 w 4572002"/>
                <a:gd name="connsiteY313" fmla="*/ 1697753 h 6858002"/>
                <a:gd name="connsiteX314" fmla="*/ 3700436 w 4572002"/>
                <a:gd name="connsiteY314" fmla="*/ 1624980 h 6858002"/>
                <a:gd name="connsiteX315" fmla="*/ 3698532 w 4572002"/>
                <a:gd name="connsiteY315" fmla="*/ 1596213 h 6858002"/>
                <a:gd name="connsiteX316" fmla="*/ 3745230 w 4572002"/>
                <a:gd name="connsiteY316" fmla="*/ 1459073 h 6858002"/>
                <a:gd name="connsiteX317" fmla="*/ 3745229 w 4572002"/>
                <a:gd name="connsiteY317" fmla="*/ 1459074 h 6858002"/>
                <a:gd name="connsiteX318" fmla="*/ 3736012 w 4572002"/>
                <a:gd name="connsiteY318" fmla="*/ 1481572 h 6858002"/>
                <a:gd name="connsiteX319" fmla="*/ 3764423 w 4572002"/>
                <a:gd name="connsiteY319" fmla="*/ 1268758 h 6858002"/>
                <a:gd name="connsiteX320" fmla="*/ 3769590 w 4572002"/>
                <a:gd name="connsiteY320" fmla="*/ 1286070 h 6858002"/>
                <a:gd name="connsiteX321" fmla="*/ 3791927 w 4572002"/>
                <a:gd name="connsiteY321" fmla="*/ 1350628 h 6858002"/>
                <a:gd name="connsiteX322" fmla="*/ 3786333 w 4572002"/>
                <a:gd name="connsiteY322" fmla="*/ 1413840 h 6858002"/>
                <a:gd name="connsiteX323" fmla="*/ 3791928 w 4572002"/>
                <a:gd name="connsiteY323" fmla="*/ 1350627 h 6858002"/>
                <a:gd name="connsiteX324" fmla="*/ 3769590 w 4572002"/>
                <a:gd name="connsiteY324" fmla="*/ 1286069 h 6858002"/>
                <a:gd name="connsiteX325" fmla="*/ 3706152 w 4572002"/>
                <a:gd name="connsiteY325" fmla="*/ 773035 h 6858002"/>
                <a:gd name="connsiteX326" fmla="*/ 3706152 w 4572002"/>
                <a:gd name="connsiteY326" fmla="*/ 773036 h 6858002"/>
                <a:gd name="connsiteX327" fmla="*/ 3714152 w 4572002"/>
                <a:gd name="connsiteY327" fmla="*/ 854380 h 6858002"/>
                <a:gd name="connsiteX328" fmla="*/ 3745205 w 4572002"/>
                <a:gd name="connsiteY328" fmla="*/ 915344 h 6858002"/>
                <a:gd name="connsiteX329" fmla="*/ 3755683 w 4572002"/>
                <a:gd name="connsiteY329" fmla="*/ 927156 h 6858002"/>
                <a:gd name="connsiteX330" fmla="*/ 3752063 w 4572002"/>
                <a:gd name="connsiteY330" fmla="*/ 1097088 h 6858002"/>
                <a:gd name="connsiteX331" fmla="*/ 3747681 w 4572002"/>
                <a:gd name="connsiteY331" fmla="*/ 1123186 h 6858002"/>
                <a:gd name="connsiteX332" fmla="*/ 3772400 w 4572002"/>
                <a:gd name="connsiteY332" fmla="*/ 1184029 h 6858002"/>
                <a:gd name="connsiteX333" fmla="*/ 3747682 w 4572002"/>
                <a:gd name="connsiteY333" fmla="*/ 1123185 h 6858002"/>
                <a:gd name="connsiteX334" fmla="*/ 3752064 w 4572002"/>
                <a:gd name="connsiteY334" fmla="*/ 1097087 h 6858002"/>
                <a:gd name="connsiteX335" fmla="*/ 3755684 w 4572002"/>
                <a:gd name="connsiteY335" fmla="*/ 927155 h 6858002"/>
                <a:gd name="connsiteX336" fmla="*/ 3745206 w 4572002"/>
                <a:gd name="connsiteY336" fmla="*/ 915343 h 6858002"/>
                <a:gd name="connsiteX337" fmla="*/ 3714152 w 4572002"/>
                <a:gd name="connsiteY337" fmla="*/ 854379 h 6858002"/>
                <a:gd name="connsiteX338" fmla="*/ 3761553 w 4572002"/>
                <a:gd name="connsiteY338" fmla="*/ 517851 h 6858002"/>
                <a:gd name="connsiteX339" fmla="*/ 3752635 w 4572002"/>
                <a:gd name="connsiteY339" fmla="*/ 556048 h 6858002"/>
                <a:gd name="connsiteX340" fmla="*/ 3746157 w 4572002"/>
                <a:gd name="connsiteY340" fmla="*/ 580051 h 6858002"/>
                <a:gd name="connsiteX341" fmla="*/ 3742776 w 4572002"/>
                <a:gd name="connsiteY341" fmla="*/ 642538 h 6858002"/>
                <a:gd name="connsiteX342" fmla="*/ 3730253 w 4572002"/>
                <a:gd name="connsiteY342" fmla="*/ 694928 h 6858002"/>
                <a:gd name="connsiteX343" fmla="*/ 3742777 w 4572002"/>
                <a:gd name="connsiteY343" fmla="*/ 642537 h 6858002"/>
                <a:gd name="connsiteX344" fmla="*/ 3746158 w 4572002"/>
                <a:gd name="connsiteY344" fmla="*/ 580050 h 6858002"/>
                <a:gd name="connsiteX345" fmla="*/ 3752636 w 4572002"/>
                <a:gd name="connsiteY345" fmla="*/ 556047 h 6858002"/>
                <a:gd name="connsiteX346" fmla="*/ 3774848 w 4572002"/>
                <a:gd name="connsiteY346" fmla="*/ 298169 h 6858002"/>
                <a:gd name="connsiteX347" fmla="*/ 3760065 w 4572002"/>
                <a:gd name="connsiteY347" fmla="*/ 313534 h 6858002"/>
                <a:gd name="connsiteX348" fmla="*/ 3759493 w 4572002"/>
                <a:gd name="connsiteY348" fmla="*/ 338871 h 6858002"/>
                <a:gd name="connsiteX349" fmla="*/ 3759500 w 4572002"/>
                <a:gd name="connsiteY349" fmla="*/ 338900 h 6858002"/>
                <a:gd name="connsiteX350" fmla="*/ 3769400 w 4572002"/>
                <a:gd name="connsiteY350" fmla="*/ 395640 h 6858002"/>
                <a:gd name="connsiteX351" fmla="*/ 3765590 w 4572002"/>
                <a:gd name="connsiteY351" fmla="*/ 367328 h 6858002"/>
                <a:gd name="connsiteX352" fmla="*/ 3759500 w 4572002"/>
                <a:gd name="connsiteY352" fmla="*/ 338900 h 6858002"/>
                <a:gd name="connsiteX353" fmla="*/ 3759494 w 4572002"/>
                <a:gd name="connsiteY353" fmla="*/ 338870 h 6858002"/>
                <a:gd name="connsiteX354" fmla="*/ 3760066 w 4572002"/>
                <a:gd name="connsiteY354" fmla="*/ 313533 h 6858002"/>
                <a:gd name="connsiteX355" fmla="*/ 3782393 w 4572002"/>
                <a:gd name="connsiteY355" fmla="*/ 281568 h 6858002"/>
                <a:gd name="connsiteX356" fmla="*/ 3777498 w 4572002"/>
                <a:gd name="connsiteY356" fmla="*/ 295415 h 6858002"/>
                <a:gd name="connsiteX357" fmla="*/ 3777499 w 4572002"/>
                <a:gd name="connsiteY357" fmla="*/ 295415 h 6858002"/>
                <a:gd name="connsiteX358" fmla="*/ 3769073 w 4572002"/>
                <a:gd name="connsiteY358" fmla="*/ 24486 h 6858002"/>
                <a:gd name="connsiteX359" fmla="*/ 3766810 w 4572002"/>
                <a:gd name="connsiteY359" fmla="*/ 74129 h 6858002"/>
                <a:gd name="connsiteX360" fmla="*/ 3772734 w 4572002"/>
                <a:gd name="connsiteY360" fmla="*/ 125861 h 6858002"/>
                <a:gd name="connsiteX361" fmla="*/ 3777129 w 4572002"/>
                <a:gd name="connsiteY361" fmla="*/ 153387 h 6858002"/>
                <a:gd name="connsiteX362" fmla="*/ 3785402 w 4572002"/>
                <a:gd name="connsiteY362" fmla="*/ 228944 h 6858002"/>
                <a:gd name="connsiteX363" fmla="*/ 3780943 w 4572002"/>
                <a:gd name="connsiteY363" fmla="*/ 177271 h 6858002"/>
                <a:gd name="connsiteX364" fmla="*/ 3777129 w 4572002"/>
                <a:gd name="connsiteY364" fmla="*/ 153387 h 6858002"/>
                <a:gd name="connsiteX365" fmla="*/ 3776930 w 4572002"/>
                <a:gd name="connsiteY365" fmla="*/ 151569 h 6858002"/>
                <a:gd name="connsiteX366" fmla="*/ 3766811 w 4572002"/>
                <a:gd name="connsiteY366" fmla="*/ 74129 h 6858002"/>
                <a:gd name="connsiteX367" fmla="*/ 3766492 w 4572002"/>
                <a:gd name="connsiteY367" fmla="*/ 0 h 6858002"/>
                <a:gd name="connsiteX368" fmla="*/ 4230600 w 4572002"/>
                <a:gd name="connsiteY368" fmla="*/ 0 h 6858002"/>
                <a:gd name="connsiteX369" fmla="*/ 4229473 w 4572002"/>
                <a:gd name="connsiteY369" fmla="*/ 2817 h 6858002"/>
                <a:gd name="connsiteX370" fmla="*/ 4215375 w 4572002"/>
                <a:gd name="connsiteY370" fmla="*/ 63587 h 6858002"/>
                <a:gd name="connsiteX371" fmla="*/ 4201468 w 4572002"/>
                <a:gd name="connsiteY371" fmla="*/ 176939 h 6858002"/>
                <a:gd name="connsiteX372" fmla="*/ 4193466 w 4572002"/>
                <a:gd name="connsiteY372" fmla="*/ 200182 h 6858002"/>
                <a:gd name="connsiteX373" fmla="*/ 4155554 w 4572002"/>
                <a:gd name="connsiteY373" fmla="*/ 340774 h 6858002"/>
                <a:gd name="connsiteX374" fmla="*/ 4156319 w 4572002"/>
                <a:gd name="connsiteY374" fmla="*/ 453364 h 6858002"/>
                <a:gd name="connsiteX375" fmla="*/ 4158033 w 4572002"/>
                <a:gd name="connsiteY375" fmla="*/ 462126 h 6858002"/>
                <a:gd name="connsiteX376" fmla="*/ 4170605 w 4572002"/>
                <a:gd name="connsiteY376" fmla="*/ 505182 h 6858002"/>
                <a:gd name="connsiteX377" fmla="*/ 4167177 w 4572002"/>
                <a:gd name="connsiteY377" fmla="*/ 571860 h 6858002"/>
                <a:gd name="connsiteX378" fmla="*/ 4149840 w 4572002"/>
                <a:gd name="connsiteY378" fmla="*/ 617772 h 6858002"/>
                <a:gd name="connsiteX379" fmla="*/ 4149078 w 4572002"/>
                <a:gd name="connsiteY379" fmla="*/ 674923 h 6858002"/>
                <a:gd name="connsiteX380" fmla="*/ 4159937 w 4572002"/>
                <a:gd name="connsiteY380" fmla="*/ 740268 h 6858002"/>
                <a:gd name="connsiteX381" fmla="*/ 4162223 w 4572002"/>
                <a:gd name="connsiteY381" fmla="*/ 769605 h 6858002"/>
                <a:gd name="connsiteX382" fmla="*/ 4184703 w 4572002"/>
                <a:gd name="connsiteY382" fmla="*/ 850189 h 6858002"/>
                <a:gd name="connsiteX383" fmla="*/ 4179179 w 4572002"/>
                <a:gd name="connsiteY383" fmla="*/ 898198 h 6858002"/>
                <a:gd name="connsiteX384" fmla="*/ 4164319 w 4572002"/>
                <a:gd name="connsiteY384" fmla="*/ 945444 h 6858002"/>
                <a:gd name="connsiteX385" fmla="*/ 4150030 w 4572002"/>
                <a:gd name="connsiteY385" fmla="*/ 975733 h 6858002"/>
                <a:gd name="connsiteX386" fmla="*/ 4139934 w 4572002"/>
                <a:gd name="connsiteY386" fmla="*/ 1036887 h 6858002"/>
                <a:gd name="connsiteX387" fmla="*/ 4141458 w 4572002"/>
                <a:gd name="connsiteY387" fmla="*/ 1048125 h 6858002"/>
                <a:gd name="connsiteX388" fmla="*/ 4154032 w 4572002"/>
                <a:gd name="connsiteY388" fmla="*/ 1230633 h 6858002"/>
                <a:gd name="connsiteX389" fmla="*/ 4174225 w 4572002"/>
                <a:gd name="connsiteY389" fmla="*/ 1303024 h 6858002"/>
                <a:gd name="connsiteX390" fmla="*/ 4176701 w 4572002"/>
                <a:gd name="connsiteY390" fmla="*/ 1318456 h 6858002"/>
                <a:gd name="connsiteX391" fmla="*/ 4199372 w 4572002"/>
                <a:gd name="connsiteY391" fmla="*/ 1472575 h 6858002"/>
                <a:gd name="connsiteX392" fmla="*/ 4200325 w 4572002"/>
                <a:gd name="connsiteY392" fmla="*/ 1489720 h 6858002"/>
                <a:gd name="connsiteX393" fmla="*/ 4196324 w 4572002"/>
                <a:gd name="connsiteY393" fmla="*/ 1537537 h 6858002"/>
                <a:gd name="connsiteX394" fmla="*/ 4237474 w 4572002"/>
                <a:gd name="connsiteY394" fmla="*/ 1650317 h 6858002"/>
                <a:gd name="connsiteX395" fmla="*/ 4251572 w 4572002"/>
                <a:gd name="connsiteY395" fmla="*/ 1763287 h 6858002"/>
                <a:gd name="connsiteX396" fmla="*/ 4251380 w 4572002"/>
                <a:gd name="connsiteY396" fmla="*/ 1825393 h 6858002"/>
                <a:gd name="connsiteX397" fmla="*/ 4261478 w 4572002"/>
                <a:gd name="connsiteY397" fmla="*/ 1869780 h 6858002"/>
                <a:gd name="connsiteX398" fmla="*/ 4292149 w 4572002"/>
                <a:gd name="connsiteY398" fmla="*/ 1978940 h 6858002"/>
                <a:gd name="connsiteX399" fmla="*/ 4296911 w 4572002"/>
                <a:gd name="connsiteY399" fmla="*/ 2030378 h 6858002"/>
                <a:gd name="connsiteX400" fmla="*/ 4307201 w 4572002"/>
                <a:gd name="connsiteY400" fmla="*/ 2085054 h 6858002"/>
                <a:gd name="connsiteX401" fmla="*/ 4353302 w 4572002"/>
                <a:gd name="connsiteY401" fmla="*/ 2220312 h 6858002"/>
                <a:gd name="connsiteX402" fmla="*/ 4350636 w 4572002"/>
                <a:gd name="connsiteY402" fmla="*/ 2330806 h 6858002"/>
                <a:gd name="connsiteX403" fmla="*/ 4351206 w 4572002"/>
                <a:gd name="connsiteY403" fmla="*/ 2401292 h 6858002"/>
                <a:gd name="connsiteX404" fmla="*/ 4366446 w 4572002"/>
                <a:gd name="connsiteY404" fmla="*/ 2485307 h 6858002"/>
                <a:gd name="connsiteX405" fmla="*/ 4388736 w 4572002"/>
                <a:gd name="connsiteY405" fmla="*/ 2554079 h 6858002"/>
                <a:gd name="connsiteX406" fmla="*/ 4406453 w 4572002"/>
                <a:gd name="connsiteY406" fmla="*/ 2649143 h 6858002"/>
                <a:gd name="connsiteX407" fmla="*/ 4440554 w 4572002"/>
                <a:gd name="connsiteY407" fmla="*/ 2743826 h 6858002"/>
                <a:gd name="connsiteX408" fmla="*/ 4466653 w 4572002"/>
                <a:gd name="connsiteY408" fmla="*/ 2809930 h 6858002"/>
                <a:gd name="connsiteX409" fmla="*/ 4489705 w 4572002"/>
                <a:gd name="connsiteY409" fmla="*/ 2901943 h 6858002"/>
                <a:gd name="connsiteX410" fmla="*/ 4505897 w 4572002"/>
                <a:gd name="connsiteY410" fmla="*/ 3042728 h 6858002"/>
                <a:gd name="connsiteX411" fmla="*/ 4507613 w 4572002"/>
                <a:gd name="connsiteY411" fmla="*/ 3107500 h 6858002"/>
                <a:gd name="connsiteX412" fmla="*/ 4545521 w 4572002"/>
                <a:gd name="connsiteY412" fmla="*/ 3209993 h 6858002"/>
                <a:gd name="connsiteX413" fmla="*/ 4563811 w 4572002"/>
                <a:gd name="connsiteY413" fmla="*/ 3253809 h 6858002"/>
                <a:gd name="connsiteX414" fmla="*/ 4548570 w 4572002"/>
                <a:gd name="connsiteY414" fmla="*/ 3293244 h 6858002"/>
                <a:gd name="connsiteX415" fmla="*/ 4531043 w 4572002"/>
                <a:gd name="connsiteY415" fmla="*/ 3318771 h 6858002"/>
                <a:gd name="connsiteX416" fmla="*/ 4545904 w 4572002"/>
                <a:gd name="connsiteY416" fmla="*/ 3399546 h 6858002"/>
                <a:gd name="connsiteX417" fmla="*/ 4561524 w 4572002"/>
                <a:gd name="connsiteY417" fmla="*/ 3485275 h 6858002"/>
                <a:gd name="connsiteX418" fmla="*/ 4572002 w 4572002"/>
                <a:gd name="connsiteY418" fmla="*/ 3546617 h 6858002"/>
                <a:gd name="connsiteX419" fmla="*/ 4563620 w 4572002"/>
                <a:gd name="connsiteY419" fmla="*/ 3623201 h 6858002"/>
                <a:gd name="connsiteX420" fmla="*/ 4560192 w 4572002"/>
                <a:gd name="connsiteY420" fmla="*/ 3683591 h 6858002"/>
                <a:gd name="connsiteX421" fmla="*/ 4550476 w 4572002"/>
                <a:gd name="connsiteY421" fmla="*/ 3732361 h 6858002"/>
                <a:gd name="connsiteX422" fmla="*/ 4544759 w 4572002"/>
                <a:gd name="connsiteY422" fmla="*/ 3749506 h 6858002"/>
                <a:gd name="connsiteX423" fmla="*/ 4500182 w 4572002"/>
                <a:gd name="connsiteY423" fmla="*/ 3885338 h 6858002"/>
                <a:gd name="connsiteX424" fmla="*/ 4464557 w 4572002"/>
                <a:gd name="connsiteY424" fmla="*/ 4030503 h 6858002"/>
                <a:gd name="connsiteX425" fmla="*/ 4487039 w 4572002"/>
                <a:gd name="connsiteY425" fmla="*/ 4124614 h 6858002"/>
                <a:gd name="connsiteX426" fmla="*/ 4486656 w 4572002"/>
                <a:gd name="connsiteY426" fmla="*/ 4159667 h 6858002"/>
                <a:gd name="connsiteX427" fmla="*/ 4491801 w 4572002"/>
                <a:gd name="connsiteY427" fmla="*/ 4320837 h 6858002"/>
                <a:gd name="connsiteX428" fmla="*/ 4497325 w 4572002"/>
                <a:gd name="connsiteY428" fmla="*/ 4349222 h 6858002"/>
                <a:gd name="connsiteX429" fmla="*/ 4474653 w 4572002"/>
                <a:gd name="connsiteY429" fmla="*/ 4502579 h 6858002"/>
                <a:gd name="connsiteX430" fmla="*/ 4470844 w 4572002"/>
                <a:gd name="connsiteY430" fmla="*/ 4558207 h 6858002"/>
                <a:gd name="connsiteX431" fmla="*/ 4464557 w 4572002"/>
                <a:gd name="connsiteY431" fmla="*/ 4609452 h 6858002"/>
                <a:gd name="connsiteX432" fmla="*/ 4463033 w 4572002"/>
                <a:gd name="connsiteY432" fmla="*/ 4681083 h 6858002"/>
                <a:gd name="connsiteX433" fmla="*/ 4465891 w 4572002"/>
                <a:gd name="connsiteY433" fmla="*/ 4755381 h 6858002"/>
                <a:gd name="connsiteX434" fmla="*/ 4465319 w 4572002"/>
                <a:gd name="connsiteY434" fmla="*/ 4838250 h 6858002"/>
                <a:gd name="connsiteX435" fmla="*/ 4460367 w 4572002"/>
                <a:gd name="connsiteY435" fmla="*/ 4871019 h 6858002"/>
                <a:gd name="connsiteX436" fmla="*/ 4463795 w 4572002"/>
                <a:gd name="connsiteY436" fmla="*/ 4959602 h 6858002"/>
                <a:gd name="connsiteX437" fmla="*/ 4458082 w 4572002"/>
                <a:gd name="connsiteY437" fmla="*/ 5006086 h 6858002"/>
                <a:gd name="connsiteX438" fmla="*/ 4456937 w 4572002"/>
                <a:gd name="connsiteY438" fmla="*/ 5082670 h 6858002"/>
                <a:gd name="connsiteX439" fmla="*/ 4455603 w 4572002"/>
                <a:gd name="connsiteY439" fmla="*/ 5107627 h 6858002"/>
                <a:gd name="connsiteX440" fmla="*/ 4454840 w 4572002"/>
                <a:gd name="connsiteY440" fmla="*/ 5129916 h 6858002"/>
                <a:gd name="connsiteX441" fmla="*/ 4470464 w 4572002"/>
                <a:gd name="connsiteY441" fmla="*/ 5206308 h 6858002"/>
                <a:gd name="connsiteX442" fmla="*/ 4471415 w 4572002"/>
                <a:gd name="connsiteY442" fmla="*/ 5274129 h 6858002"/>
                <a:gd name="connsiteX443" fmla="*/ 4483990 w 4572002"/>
                <a:gd name="connsiteY443" fmla="*/ 5393005 h 6858002"/>
                <a:gd name="connsiteX444" fmla="*/ 4479607 w 4572002"/>
                <a:gd name="connsiteY444" fmla="*/ 5419295 h 6858002"/>
                <a:gd name="connsiteX445" fmla="*/ 4477894 w 4572002"/>
                <a:gd name="connsiteY445" fmla="*/ 5501594 h 6858002"/>
                <a:gd name="connsiteX446" fmla="*/ 4476560 w 4572002"/>
                <a:gd name="connsiteY446" fmla="*/ 5548460 h 6858002"/>
                <a:gd name="connsiteX447" fmla="*/ 4485703 w 4572002"/>
                <a:gd name="connsiteY447" fmla="*/ 5606372 h 6858002"/>
                <a:gd name="connsiteX448" fmla="*/ 4505134 w 4572002"/>
                <a:gd name="connsiteY448" fmla="*/ 5706959 h 6858002"/>
                <a:gd name="connsiteX449" fmla="*/ 4508183 w 4572002"/>
                <a:gd name="connsiteY449" fmla="*/ 5733440 h 6858002"/>
                <a:gd name="connsiteX450" fmla="*/ 4517519 w 4572002"/>
                <a:gd name="connsiteY450" fmla="*/ 5781830 h 6858002"/>
                <a:gd name="connsiteX451" fmla="*/ 4519234 w 4572002"/>
                <a:gd name="connsiteY451" fmla="*/ 5790592 h 6858002"/>
                <a:gd name="connsiteX452" fmla="*/ 4542855 w 4572002"/>
                <a:gd name="connsiteY452" fmla="*/ 5864318 h 6858002"/>
                <a:gd name="connsiteX453" fmla="*/ 4544759 w 4572002"/>
                <a:gd name="connsiteY453" fmla="*/ 5902610 h 6858002"/>
                <a:gd name="connsiteX454" fmla="*/ 4544951 w 4572002"/>
                <a:gd name="connsiteY454" fmla="*/ 6012723 h 6858002"/>
                <a:gd name="connsiteX455" fmla="*/ 4541332 w 4572002"/>
                <a:gd name="connsiteY455" fmla="*/ 6059397 h 6858002"/>
                <a:gd name="connsiteX456" fmla="*/ 4527426 w 4572002"/>
                <a:gd name="connsiteY456" fmla="*/ 6171605 h 6858002"/>
                <a:gd name="connsiteX457" fmla="*/ 4520568 w 4572002"/>
                <a:gd name="connsiteY457" fmla="*/ 6242093 h 6858002"/>
                <a:gd name="connsiteX458" fmla="*/ 4509706 w 4572002"/>
                <a:gd name="connsiteY458" fmla="*/ 6323058 h 6858002"/>
                <a:gd name="connsiteX459" fmla="*/ 4502848 w 4572002"/>
                <a:gd name="connsiteY459" fmla="*/ 6415833 h 6858002"/>
                <a:gd name="connsiteX460" fmla="*/ 4482084 w 4572002"/>
                <a:gd name="connsiteY460" fmla="*/ 6584812 h 6858002"/>
                <a:gd name="connsiteX461" fmla="*/ 4460557 w 4572002"/>
                <a:gd name="connsiteY461" fmla="*/ 6748458 h 6858002"/>
                <a:gd name="connsiteX462" fmla="*/ 4441507 w 4572002"/>
                <a:gd name="connsiteY462" fmla="*/ 6815516 h 6858002"/>
                <a:gd name="connsiteX463" fmla="*/ 4431806 w 4572002"/>
                <a:gd name="connsiteY463" fmla="*/ 6858001 h 6858002"/>
                <a:gd name="connsiteX464" fmla="*/ 4259554 w 4572002"/>
                <a:gd name="connsiteY464" fmla="*/ 6858001 h 6858002"/>
                <a:gd name="connsiteX465" fmla="*/ 4259554 w 4572002"/>
                <a:gd name="connsiteY465" fmla="*/ 6858002 h 6858002"/>
                <a:gd name="connsiteX466" fmla="*/ 0 w 4572002"/>
                <a:gd name="connsiteY466" fmla="*/ 6858002 h 6858002"/>
                <a:gd name="connsiteX467" fmla="*/ 0 w 4572002"/>
                <a:gd name="connsiteY467" fmla="*/ 2 h 6858002"/>
                <a:gd name="connsiteX468" fmla="*/ 3766492 w 4572002"/>
                <a:gd name="connsiteY468" fmla="*/ 1 h 6858002"/>
                <a:gd name="connsiteX469" fmla="*/ 3769210 w 4572002"/>
                <a:gd name="connsiteY469" fmla="*/ 21486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Lst>
              <a:rect l="l" t="t" r="r" b="b"/>
              <a:pathLst>
                <a:path w="4572002" h="6858002">
                  <a:moveTo>
                    <a:pt x="4214994" y="6564620"/>
                  </a:moveTo>
                  <a:lnTo>
                    <a:pt x="4214994" y="6564621"/>
                  </a:lnTo>
                  <a:cubicBezTo>
                    <a:pt x="4225281" y="6575479"/>
                    <a:pt x="4231378" y="6582147"/>
                    <a:pt x="4237474" y="6588626"/>
                  </a:cubicBezTo>
                  <a:lnTo>
                    <a:pt x="4254096" y="6625225"/>
                  </a:lnTo>
                  <a:lnTo>
                    <a:pt x="4247001" y="6662540"/>
                  </a:lnTo>
                  <a:lnTo>
                    <a:pt x="4247000" y="6662541"/>
                  </a:lnTo>
                  <a:lnTo>
                    <a:pt x="4246999" y="6662544"/>
                  </a:lnTo>
                  <a:lnTo>
                    <a:pt x="4235550" y="6683027"/>
                  </a:lnTo>
                  <a:lnTo>
                    <a:pt x="4232403" y="6702976"/>
                  </a:lnTo>
                  <a:lnTo>
                    <a:pt x="4232403" y="6702977"/>
                  </a:lnTo>
                  <a:cubicBezTo>
                    <a:pt x="4232808" y="6716169"/>
                    <a:pt x="4237951" y="6729219"/>
                    <a:pt x="4246238" y="6742553"/>
                  </a:cubicBezTo>
                  <a:lnTo>
                    <a:pt x="4246239" y="6742555"/>
                  </a:lnTo>
                  <a:lnTo>
                    <a:pt x="4265716" y="6812062"/>
                  </a:lnTo>
                  <a:lnTo>
                    <a:pt x="4265717" y="6812064"/>
                  </a:lnTo>
                  <a:lnTo>
                    <a:pt x="4265717" y="6812063"/>
                  </a:lnTo>
                  <a:lnTo>
                    <a:pt x="4265716" y="6812062"/>
                  </a:lnTo>
                  <a:lnTo>
                    <a:pt x="4260942" y="6776800"/>
                  </a:lnTo>
                  <a:lnTo>
                    <a:pt x="4246239" y="6742555"/>
                  </a:lnTo>
                  <a:lnTo>
                    <a:pt x="4246238" y="6742552"/>
                  </a:lnTo>
                  <a:lnTo>
                    <a:pt x="4232403" y="6702976"/>
                  </a:lnTo>
                  <a:lnTo>
                    <a:pt x="4246999" y="6662544"/>
                  </a:lnTo>
                  <a:lnTo>
                    <a:pt x="4247000" y="6662542"/>
                  </a:lnTo>
                  <a:lnTo>
                    <a:pt x="4247001" y="6662540"/>
                  </a:lnTo>
                  <a:lnTo>
                    <a:pt x="4254084" y="6645552"/>
                  </a:lnTo>
                  <a:lnTo>
                    <a:pt x="4254096" y="6625225"/>
                  </a:lnTo>
                  <a:lnTo>
                    <a:pt x="4254096" y="6625224"/>
                  </a:lnTo>
                  <a:cubicBezTo>
                    <a:pt x="4252000" y="6611341"/>
                    <a:pt x="4245951" y="6597578"/>
                    <a:pt x="4237474" y="6588625"/>
                  </a:cubicBezTo>
                  <a:close/>
                  <a:moveTo>
                    <a:pt x="4295315" y="6438981"/>
                  </a:moveTo>
                  <a:lnTo>
                    <a:pt x="4275385" y="6463840"/>
                  </a:lnTo>
                  <a:lnTo>
                    <a:pt x="4275382" y="6463849"/>
                  </a:lnTo>
                  <a:lnTo>
                    <a:pt x="4261587" y="6513012"/>
                  </a:lnTo>
                  <a:lnTo>
                    <a:pt x="4242781" y="6546194"/>
                  </a:lnTo>
                  <a:lnTo>
                    <a:pt x="4242781" y="6546195"/>
                  </a:lnTo>
                  <a:lnTo>
                    <a:pt x="4259120" y="6521804"/>
                  </a:lnTo>
                  <a:lnTo>
                    <a:pt x="4261587" y="6513012"/>
                  </a:lnTo>
                  <a:lnTo>
                    <a:pt x="4264398" y="6508052"/>
                  </a:lnTo>
                  <a:lnTo>
                    <a:pt x="4275382" y="6463849"/>
                  </a:lnTo>
                  <a:lnTo>
                    <a:pt x="4275385" y="6463841"/>
                  </a:lnTo>
                  <a:cubicBezTo>
                    <a:pt x="4278336" y="6451650"/>
                    <a:pt x="4285813" y="6444077"/>
                    <a:pt x="4295315" y="6438981"/>
                  </a:cubicBezTo>
                  <a:close/>
                  <a:moveTo>
                    <a:pt x="4381289" y="6365204"/>
                  </a:moveTo>
                  <a:lnTo>
                    <a:pt x="4380008" y="6387910"/>
                  </a:lnTo>
                  <a:lnTo>
                    <a:pt x="4378243" y="6391549"/>
                  </a:lnTo>
                  <a:lnTo>
                    <a:pt x="4370589" y="6407332"/>
                  </a:lnTo>
                  <a:lnTo>
                    <a:pt x="4370589" y="6407333"/>
                  </a:lnTo>
                  <a:lnTo>
                    <a:pt x="4378243" y="6391549"/>
                  </a:lnTo>
                  <a:lnTo>
                    <a:pt x="4380008" y="6387910"/>
                  </a:lnTo>
                  <a:close/>
                  <a:moveTo>
                    <a:pt x="4142220" y="4221391"/>
                  </a:moveTo>
                  <a:lnTo>
                    <a:pt x="4142220" y="4221392"/>
                  </a:lnTo>
                  <a:cubicBezTo>
                    <a:pt x="4142982" y="4232061"/>
                    <a:pt x="4143172" y="4243873"/>
                    <a:pt x="4147936" y="4253015"/>
                  </a:cubicBezTo>
                  <a:cubicBezTo>
                    <a:pt x="4160129" y="4277402"/>
                    <a:pt x="4175749" y="4300071"/>
                    <a:pt x="4187752" y="4324646"/>
                  </a:cubicBezTo>
                  <a:lnTo>
                    <a:pt x="4196706" y="4363891"/>
                  </a:lnTo>
                  <a:lnTo>
                    <a:pt x="4195944" y="4482004"/>
                  </a:lnTo>
                  <a:cubicBezTo>
                    <a:pt x="4193276" y="4546776"/>
                    <a:pt x="4192704" y="4612500"/>
                    <a:pt x="4135934" y="4659174"/>
                  </a:cubicBezTo>
                  <a:cubicBezTo>
                    <a:pt x="4131362" y="4662986"/>
                    <a:pt x="4128694" y="4671176"/>
                    <a:pt x="4127932" y="4677655"/>
                  </a:cubicBezTo>
                  <a:cubicBezTo>
                    <a:pt x="4124313" y="4707564"/>
                    <a:pt x="4123931" y="4738235"/>
                    <a:pt x="4118025" y="4767764"/>
                  </a:cubicBezTo>
                  <a:cubicBezTo>
                    <a:pt x="4115644" y="4779575"/>
                    <a:pt x="4114835" y="4790387"/>
                    <a:pt x="4116716" y="4800483"/>
                  </a:cubicBezTo>
                  <a:lnTo>
                    <a:pt x="4116716" y="4800484"/>
                  </a:lnTo>
                  <a:cubicBezTo>
                    <a:pt x="4118597" y="4810581"/>
                    <a:pt x="4123170" y="4819964"/>
                    <a:pt x="4131552" y="4828917"/>
                  </a:cubicBezTo>
                  <a:lnTo>
                    <a:pt x="4153733" y="4863343"/>
                  </a:lnTo>
                  <a:lnTo>
                    <a:pt x="4161262" y="4889275"/>
                  </a:lnTo>
                  <a:lnTo>
                    <a:pt x="4159557" y="4912168"/>
                  </a:lnTo>
                  <a:cubicBezTo>
                    <a:pt x="4157842" y="4919978"/>
                    <a:pt x="4157485" y="4927122"/>
                    <a:pt x="4158155" y="4933804"/>
                  </a:cubicBezTo>
                  <a:lnTo>
                    <a:pt x="4158155" y="4933805"/>
                  </a:lnTo>
                  <a:lnTo>
                    <a:pt x="4162914" y="4952673"/>
                  </a:lnTo>
                  <a:lnTo>
                    <a:pt x="4165707" y="4957454"/>
                  </a:lnTo>
                  <a:lnTo>
                    <a:pt x="4166985" y="4961456"/>
                  </a:lnTo>
                  <a:cubicBezTo>
                    <a:pt x="4171496" y="4970097"/>
                    <a:pt x="4177202" y="4978394"/>
                    <a:pt x="4182989" y="4987038"/>
                  </a:cubicBezTo>
                  <a:cubicBezTo>
                    <a:pt x="4194228" y="5003802"/>
                    <a:pt x="4208326" y="5022853"/>
                    <a:pt x="4209468" y="5041522"/>
                  </a:cubicBezTo>
                  <a:cubicBezTo>
                    <a:pt x="4210087" y="5052096"/>
                    <a:pt x="4213005" y="5062300"/>
                    <a:pt x="4216684" y="5072376"/>
                  </a:cubicBezTo>
                  <a:lnTo>
                    <a:pt x="4222587" y="5087441"/>
                  </a:lnTo>
                  <a:lnTo>
                    <a:pt x="4235615" y="5133220"/>
                  </a:lnTo>
                  <a:lnTo>
                    <a:pt x="4235616" y="5133225"/>
                  </a:lnTo>
                  <a:lnTo>
                    <a:pt x="4228901" y="5166113"/>
                  </a:lnTo>
                  <a:lnTo>
                    <a:pt x="4228901" y="5166114"/>
                  </a:lnTo>
                  <a:cubicBezTo>
                    <a:pt x="4228139" y="5167638"/>
                    <a:pt x="4228712" y="5169781"/>
                    <a:pt x="4229593" y="5172091"/>
                  </a:cubicBezTo>
                  <a:lnTo>
                    <a:pt x="4232139" y="5179068"/>
                  </a:lnTo>
                  <a:cubicBezTo>
                    <a:pt x="4235759" y="5196595"/>
                    <a:pt x="4235807" y="5213598"/>
                    <a:pt x="4231973" y="5229434"/>
                  </a:cubicBezTo>
                  <a:lnTo>
                    <a:pt x="4225669" y="5241089"/>
                  </a:lnTo>
                  <a:lnTo>
                    <a:pt x="4208517" y="5272796"/>
                  </a:lnTo>
                  <a:cubicBezTo>
                    <a:pt x="4196871" y="5285441"/>
                    <a:pt x="4189165" y="5298595"/>
                    <a:pt x="4184613" y="5312288"/>
                  </a:cubicBezTo>
                  <a:lnTo>
                    <a:pt x="4183557" y="5321350"/>
                  </a:lnTo>
                  <a:lnTo>
                    <a:pt x="4181083" y="5326163"/>
                  </a:lnTo>
                  <a:lnTo>
                    <a:pt x="4179637" y="5355014"/>
                  </a:lnTo>
                  <a:lnTo>
                    <a:pt x="4179637" y="5355015"/>
                  </a:lnTo>
                  <a:cubicBezTo>
                    <a:pt x="4180286" y="5364883"/>
                    <a:pt x="4181989" y="5375003"/>
                    <a:pt x="4184513" y="5385385"/>
                  </a:cubicBezTo>
                  <a:cubicBezTo>
                    <a:pt x="4187752" y="5398722"/>
                    <a:pt x="4190038" y="5412058"/>
                    <a:pt x="4192704" y="5425583"/>
                  </a:cubicBezTo>
                  <a:cubicBezTo>
                    <a:pt x="4196514" y="5443871"/>
                    <a:pt x="4200516" y="5462352"/>
                    <a:pt x="4204327" y="5480638"/>
                  </a:cubicBezTo>
                  <a:lnTo>
                    <a:pt x="4208850" y="5507668"/>
                  </a:lnTo>
                  <a:lnTo>
                    <a:pt x="4198232" y="5531692"/>
                  </a:lnTo>
                  <a:lnTo>
                    <a:pt x="4198231" y="5531693"/>
                  </a:lnTo>
                  <a:cubicBezTo>
                    <a:pt x="4191181" y="5537600"/>
                    <a:pt x="4187989" y="5542649"/>
                    <a:pt x="4188085" y="5547578"/>
                  </a:cubicBezTo>
                  <a:lnTo>
                    <a:pt x="4188085" y="5547579"/>
                  </a:lnTo>
                  <a:cubicBezTo>
                    <a:pt x="4188180" y="5552508"/>
                    <a:pt x="4191562" y="5557318"/>
                    <a:pt x="4197659" y="5562747"/>
                  </a:cubicBezTo>
                  <a:cubicBezTo>
                    <a:pt x="4240332" y="5600468"/>
                    <a:pt x="4267003" y="5646190"/>
                    <a:pt x="4268907" y="5704484"/>
                  </a:cubicBezTo>
                  <a:cubicBezTo>
                    <a:pt x="4269289" y="5716486"/>
                    <a:pt x="4271954" y="5728679"/>
                    <a:pt x="4274812" y="5740489"/>
                  </a:cubicBezTo>
                  <a:cubicBezTo>
                    <a:pt x="4276527" y="5747729"/>
                    <a:pt x="4278433" y="5756494"/>
                    <a:pt x="4283578" y="5760874"/>
                  </a:cubicBezTo>
                  <a:cubicBezTo>
                    <a:pt x="4322821" y="5794975"/>
                    <a:pt x="4350063" y="5837458"/>
                    <a:pt x="4371973" y="5883752"/>
                  </a:cubicBezTo>
                  <a:lnTo>
                    <a:pt x="4371974" y="5883757"/>
                  </a:lnTo>
                  <a:lnTo>
                    <a:pt x="4389877" y="5935946"/>
                  </a:lnTo>
                  <a:lnTo>
                    <a:pt x="4389878" y="5935950"/>
                  </a:lnTo>
                  <a:lnTo>
                    <a:pt x="4386259" y="5993290"/>
                  </a:lnTo>
                  <a:lnTo>
                    <a:pt x="4386259" y="5993291"/>
                  </a:lnTo>
                  <a:cubicBezTo>
                    <a:pt x="4385116" y="6004531"/>
                    <a:pt x="4385306" y="6017485"/>
                    <a:pt x="4379782" y="6026440"/>
                  </a:cubicBezTo>
                  <a:cubicBezTo>
                    <a:pt x="4362445" y="6054825"/>
                    <a:pt x="4343778" y="6082258"/>
                    <a:pt x="4323583" y="6108738"/>
                  </a:cubicBezTo>
                  <a:cubicBezTo>
                    <a:pt x="4314914" y="6120074"/>
                    <a:pt x="4309961" y="6126884"/>
                    <a:pt x="4309890" y="6133314"/>
                  </a:cubicBezTo>
                  <a:lnTo>
                    <a:pt x="4309890" y="6133315"/>
                  </a:lnTo>
                  <a:lnTo>
                    <a:pt x="4313591" y="6143190"/>
                  </a:lnTo>
                  <a:lnTo>
                    <a:pt x="4325486" y="6155600"/>
                  </a:lnTo>
                  <a:lnTo>
                    <a:pt x="4325488" y="6155603"/>
                  </a:lnTo>
                  <a:cubicBezTo>
                    <a:pt x="4347778" y="6175798"/>
                    <a:pt x="4359398" y="6200945"/>
                    <a:pt x="4364160" y="6228757"/>
                  </a:cubicBezTo>
                  <a:lnTo>
                    <a:pt x="4381497" y="6361540"/>
                  </a:lnTo>
                  <a:lnTo>
                    <a:pt x="4381497" y="6361539"/>
                  </a:lnTo>
                  <a:cubicBezTo>
                    <a:pt x="4377877" y="6317151"/>
                    <a:pt x="4371590" y="6272764"/>
                    <a:pt x="4364160" y="6228756"/>
                  </a:cubicBezTo>
                  <a:cubicBezTo>
                    <a:pt x="4359398" y="6200944"/>
                    <a:pt x="4347778" y="6175797"/>
                    <a:pt x="4325488" y="6155602"/>
                  </a:cubicBezTo>
                  <a:lnTo>
                    <a:pt x="4325486" y="6155600"/>
                  </a:lnTo>
                  <a:lnTo>
                    <a:pt x="4309890" y="6133315"/>
                  </a:lnTo>
                  <a:lnTo>
                    <a:pt x="4323583" y="6108739"/>
                  </a:lnTo>
                  <a:cubicBezTo>
                    <a:pt x="4343778" y="6082259"/>
                    <a:pt x="4362445" y="6054826"/>
                    <a:pt x="4379782" y="6026441"/>
                  </a:cubicBezTo>
                  <a:cubicBezTo>
                    <a:pt x="4385306" y="6017486"/>
                    <a:pt x="4385116" y="6004532"/>
                    <a:pt x="4386259" y="5993292"/>
                  </a:cubicBezTo>
                  <a:lnTo>
                    <a:pt x="4386259" y="5993290"/>
                  </a:lnTo>
                  <a:lnTo>
                    <a:pt x="4389712" y="5964477"/>
                  </a:lnTo>
                  <a:lnTo>
                    <a:pt x="4389878" y="5935950"/>
                  </a:lnTo>
                  <a:lnTo>
                    <a:pt x="4389878" y="5935949"/>
                  </a:lnTo>
                  <a:lnTo>
                    <a:pt x="4389877" y="5935946"/>
                  </a:lnTo>
                  <a:lnTo>
                    <a:pt x="4382997" y="5909351"/>
                  </a:lnTo>
                  <a:lnTo>
                    <a:pt x="4371974" y="5883757"/>
                  </a:lnTo>
                  <a:lnTo>
                    <a:pt x="4371973" y="5883751"/>
                  </a:lnTo>
                  <a:cubicBezTo>
                    <a:pt x="4350063" y="5837457"/>
                    <a:pt x="4322821" y="5794974"/>
                    <a:pt x="4283578" y="5760873"/>
                  </a:cubicBezTo>
                  <a:cubicBezTo>
                    <a:pt x="4278433" y="5756493"/>
                    <a:pt x="4276527" y="5747728"/>
                    <a:pt x="4274812" y="5740488"/>
                  </a:cubicBezTo>
                  <a:cubicBezTo>
                    <a:pt x="4271954" y="5728678"/>
                    <a:pt x="4269289" y="5716485"/>
                    <a:pt x="4268907" y="5704483"/>
                  </a:cubicBezTo>
                  <a:cubicBezTo>
                    <a:pt x="4267003" y="5646189"/>
                    <a:pt x="4240332" y="5600467"/>
                    <a:pt x="4197659" y="5562746"/>
                  </a:cubicBezTo>
                  <a:lnTo>
                    <a:pt x="4188085" y="5547578"/>
                  </a:lnTo>
                  <a:lnTo>
                    <a:pt x="4198231" y="5531694"/>
                  </a:lnTo>
                  <a:lnTo>
                    <a:pt x="4198232" y="5531692"/>
                  </a:lnTo>
                  <a:lnTo>
                    <a:pt x="4206630" y="5520422"/>
                  </a:lnTo>
                  <a:lnTo>
                    <a:pt x="4208850" y="5507668"/>
                  </a:lnTo>
                  <a:lnTo>
                    <a:pt x="4208850" y="5507667"/>
                  </a:lnTo>
                  <a:cubicBezTo>
                    <a:pt x="4208803" y="5498832"/>
                    <a:pt x="4206231" y="5489497"/>
                    <a:pt x="4204327" y="5480637"/>
                  </a:cubicBezTo>
                  <a:cubicBezTo>
                    <a:pt x="4200516" y="5462351"/>
                    <a:pt x="4196514" y="5443870"/>
                    <a:pt x="4192704" y="5425582"/>
                  </a:cubicBezTo>
                  <a:cubicBezTo>
                    <a:pt x="4190038" y="5412057"/>
                    <a:pt x="4187752" y="5398721"/>
                    <a:pt x="4184513" y="5385384"/>
                  </a:cubicBezTo>
                  <a:lnTo>
                    <a:pt x="4179637" y="5355014"/>
                  </a:lnTo>
                  <a:lnTo>
                    <a:pt x="4183557" y="5321350"/>
                  </a:lnTo>
                  <a:lnTo>
                    <a:pt x="4208517" y="5272797"/>
                  </a:lnTo>
                  <a:lnTo>
                    <a:pt x="4225669" y="5241089"/>
                  </a:lnTo>
                  <a:lnTo>
                    <a:pt x="4231973" y="5229433"/>
                  </a:lnTo>
                  <a:lnTo>
                    <a:pt x="4232139" y="5179068"/>
                  </a:lnTo>
                  <a:lnTo>
                    <a:pt x="4232139" y="5179067"/>
                  </a:lnTo>
                  <a:cubicBezTo>
                    <a:pt x="4231663" y="5176876"/>
                    <a:pt x="4230473" y="5174400"/>
                    <a:pt x="4229593" y="5172090"/>
                  </a:cubicBezTo>
                  <a:lnTo>
                    <a:pt x="4228901" y="5166114"/>
                  </a:lnTo>
                  <a:lnTo>
                    <a:pt x="4235616" y="5133225"/>
                  </a:lnTo>
                  <a:lnTo>
                    <a:pt x="4235616" y="5133224"/>
                  </a:lnTo>
                  <a:lnTo>
                    <a:pt x="4235615" y="5133220"/>
                  </a:lnTo>
                  <a:lnTo>
                    <a:pt x="4228473" y="5102461"/>
                  </a:lnTo>
                  <a:lnTo>
                    <a:pt x="4222587" y="5087441"/>
                  </a:lnTo>
                  <a:lnTo>
                    <a:pt x="4222582" y="5087423"/>
                  </a:lnTo>
                  <a:cubicBezTo>
                    <a:pt x="4216496" y="5072411"/>
                    <a:pt x="4210397" y="5057381"/>
                    <a:pt x="4209468" y="5041521"/>
                  </a:cubicBezTo>
                  <a:cubicBezTo>
                    <a:pt x="4208326" y="5022852"/>
                    <a:pt x="4194228" y="5003801"/>
                    <a:pt x="4182989" y="4987037"/>
                  </a:cubicBezTo>
                  <a:lnTo>
                    <a:pt x="4165707" y="4957454"/>
                  </a:lnTo>
                  <a:lnTo>
                    <a:pt x="4158155" y="4933805"/>
                  </a:lnTo>
                  <a:lnTo>
                    <a:pt x="4159557" y="4912169"/>
                  </a:lnTo>
                  <a:cubicBezTo>
                    <a:pt x="4161319" y="4904358"/>
                    <a:pt x="4161831" y="4896714"/>
                    <a:pt x="4161262" y="4889276"/>
                  </a:cubicBezTo>
                  <a:lnTo>
                    <a:pt x="4161262" y="4889275"/>
                  </a:lnTo>
                  <a:lnTo>
                    <a:pt x="4156484" y="4867614"/>
                  </a:lnTo>
                  <a:lnTo>
                    <a:pt x="4153733" y="4863343"/>
                  </a:lnTo>
                  <a:lnTo>
                    <a:pt x="4151983" y="4857317"/>
                  </a:lnTo>
                  <a:cubicBezTo>
                    <a:pt x="4146840" y="4847214"/>
                    <a:pt x="4139839" y="4837703"/>
                    <a:pt x="4131552" y="4828916"/>
                  </a:cubicBezTo>
                  <a:lnTo>
                    <a:pt x="4116716" y="4800483"/>
                  </a:lnTo>
                  <a:lnTo>
                    <a:pt x="4118025" y="4767765"/>
                  </a:lnTo>
                  <a:cubicBezTo>
                    <a:pt x="4123931" y="4738236"/>
                    <a:pt x="4124313" y="4707565"/>
                    <a:pt x="4127932" y="4677656"/>
                  </a:cubicBezTo>
                  <a:cubicBezTo>
                    <a:pt x="4128694" y="4671177"/>
                    <a:pt x="4131362" y="4662987"/>
                    <a:pt x="4135934" y="4659175"/>
                  </a:cubicBezTo>
                  <a:cubicBezTo>
                    <a:pt x="4192704" y="4612501"/>
                    <a:pt x="4193276" y="4546777"/>
                    <a:pt x="4195944" y="4482005"/>
                  </a:cubicBezTo>
                  <a:cubicBezTo>
                    <a:pt x="4197659" y="4442762"/>
                    <a:pt x="4197659" y="4403326"/>
                    <a:pt x="4196706" y="4363891"/>
                  </a:cubicBezTo>
                  <a:lnTo>
                    <a:pt x="4196706" y="4363890"/>
                  </a:lnTo>
                  <a:cubicBezTo>
                    <a:pt x="4196514" y="4350554"/>
                    <a:pt x="4193466" y="4336457"/>
                    <a:pt x="4187752" y="4324645"/>
                  </a:cubicBezTo>
                  <a:cubicBezTo>
                    <a:pt x="4175749" y="4300070"/>
                    <a:pt x="4160129" y="4277401"/>
                    <a:pt x="4147936" y="4253014"/>
                  </a:cubicBezTo>
                  <a:close/>
                  <a:moveTo>
                    <a:pt x="4211111" y="2836172"/>
                  </a:moveTo>
                  <a:lnTo>
                    <a:pt x="4202421" y="2848793"/>
                  </a:lnTo>
                  <a:cubicBezTo>
                    <a:pt x="4197421" y="2865010"/>
                    <a:pt x="4191562" y="2881307"/>
                    <a:pt x="4186816" y="2897785"/>
                  </a:cubicBezTo>
                  <a:lnTo>
                    <a:pt x="4185787" y="2903551"/>
                  </a:lnTo>
                  <a:lnTo>
                    <a:pt x="4182513" y="2914328"/>
                  </a:lnTo>
                  <a:lnTo>
                    <a:pt x="4177882" y="2947858"/>
                  </a:lnTo>
                  <a:lnTo>
                    <a:pt x="4177881" y="2947862"/>
                  </a:lnTo>
                  <a:lnTo>
                    <a:pt x="4177881" y="2947863"/>
                  </a:lnTo>
                  <a:cubicBezTo>
                    <a:pt x="4177512" y="2959157"/>
                    <a:pt x="4178512" y="2970576"/>
                    <a:pt x="4181465" y="2982149"/>
                  </a:cubicBezTo>
                  <a:lnTo>
                    <a:pt x="4193158" y="3077402"/>
                  </a:lnTo>
                  <a:lnTo>
                    <a:pt x="4180703" y="3172654"/>
                  </a:lnTo>
                  <a:cubicBezTo>
                    <a:pt x="4154794" y="3276480"/>
                    <a:pt x="4127362" y="3380305"/>
                    <a:pt x="4133076" y="3489467"/>
                  </a:cubicBezTo>
                  <a:cubicBezTo>
                    <a:pt x="4134028" y="3507563"/>
                    <a:pt x="4122407" y="3529090"/>
                    <a:pt x="4110977" y="3544713"/>
                  </a:cubicBezTo>
                  <a:cubicBezTo>
                    <a:pt x="4100119" y="3559668"/>
                    <a:pt x="4094260" y="3566812"/>
                    <a:pt x="4093355" y="3574408"/>
                  </a:cubicBezTo>
                  <a:lnTo>
                    <a:pt x="4093355" y="3574409"/>
                  </a:lnTo>
                  <a:cubicBezTo>
                    <a:pt x="4092450" y="3582005"/>
                    <a:pt x="4096499" y="3590054"/>
                    <a:pt x="4105453" y="3606818"/>
                  </a:cubicBezTo>
                  <a:cubicBezTo>
                    <a:pt x="4109835" y="3614820"/>
                    <a:pt x="4112501" y="3624726"/>
                    <a:pt x="4118979" y="3630633"/>
                  </a:cubicBezTo>
                  <a:lnTo>
                    <a:pt x="4136708" y="3654416"/>
                  </a:lnTo>
                  <a:lnTo>
                    <a:pt x="4140382" y="3668940"/>
                  </a:lnTo>
                  <a:lnTo>
                    <a:pt x="4143220" y="3680164"/>
                  </a:lnTo>
                  <a:lnTo>
                    <a:pt x="4139172" y="3734837"/>
                  </a:lnTo>
                  <a:lnTo>
                    <a:pt x="4139172" y="3734838"/>
                  </a:lnTo>
                  <a:cubicBezTo>
                    <a:pt x="4138220" y="3741316"/>
                    <a:pt x="4136886" y="3749126"/>
                    <a:pt x="4139554" y="3754653"/>
                  </a:cubicBezTo>
                  <a:lnTo>
                    <a:pt x="4145911" y="3789776"/>
                  </a:lnTo>
                  <a:lnTo>
                    <a:pt x="4130980" y="3822472"/>
                  </a:lnTo>
                  <a:cubicBezTo>
                    <a:pt x="4123932" y="3831902"/>
                    <a:pt x="4118312" y="3842046"/>
                    <a:pt x="4116645" y="3852619"/>
                  </a:cubicBezTo>
                  <a:lnTo>
                    <a:pt x="4116645" y="3852620"/>
                  </a:lnTo>
                  <a:lnTo>
                    <a:pt x="4117425" y="3868764"/>
                  </a:lnTo>
                  <a:lnTo>
                    <a:pt x="4126028" y="3885337"/>
                  </a:lnTo>
                  <a:lnTo>
                    <a:pt x="4126028" y="3885339"/>
                  </a:lnTo>
                  <a:cubicBezTo>
                    <a:pt x="4135744" y="3897722"/>
                    <a:pt x="4143150" y="3910319"/>
                    <a:pt x="4148409" y="3923125"/>
                  </a:cubicBezTo>
                  <a:lnTo>
                    <a:pt x="4157913" y="3962160"/>
                  </a:lnTo>
                  <a:lnTo>
                    <a:pt x="4142221" y="4043838"/>
                  </a:lnTo>
                  <a:lnTo>
                    <a:pt x="4142220" y="4043839"/>
                  </a:lnTo>
                  <a:cubicBezTo>
                    <a:pt x="4133457" y="4063842"/>
                    <a:pt x="4128075" y="4083702"/>
                    <a:pt x="4127099" y="4103825"/>
                  </a:cubicBezTo>
                  <a:lnTo>
                    <a:pt x="4127099" y="4103826"/>
                  </a:lnTo>
                  <a:lnTo>
                    <a:pt x="4129066" y="4134256"/>
                  </a:lnTo>
                  <a:lnTo>
                    <a:pt x="4138410" y="4165382"/>
                  </a:lnTo>
                  <a:lnTo>
                    <a:pt x="4138410" y="4165384"/>
                  </a:lnTo>
                  <a:lnTo>
                    <a:pt x="4142315" y="4192388"/>
                  </a:lnTo>
                  <a:lnTo>
                    <a:pt x="4142315" y="4192387"/>
                  </a:lnTo>
                  <a:cubicBezTo>
                    <a:pt x="4142411" y="4182767"/>
                    <a:pt x="4141839" y="4173480"/>
                    <a:pt x="4138410" y="4165383"/>
                  </a:cubicBezTo>
                  <a:lnTo>
                    <a:pt x="4138410" y="4165382"/>
                  </a:lnTo>
                  <a:lnTo>
                    <a:pt x="4127099" y="4103826"/>
                  </a:lnTo>
                  <a:lnTo>
                    <a:pt x="4142220" y="4043840"/>
                  </a:lnTo>
                  <a:lnTo>
                    <a:pt x="4142221" y="4043838"/>
                  </a:lnTo>
                  <a:lnTo>
                    <a:pt x="4155523" y="4002410"/>
                  </a:lnTo>
                  <a:lnTo>
                    <a:pt x="4157913" y="3962160"/>
                  </a:lnTo>
                  <a:lnTo>
                    <a:pt x="4157913" y="3962159"/>
                  </a:lnTo>
                  <a:cubicBezTo>
                    <a:pt x="4155651" y="3935727"/>
                    <a:pt x="4145460" y="3910104"/>
                    <a:pt x="4126028" y="3885338"/>
                  </a:cubicBezTo>
                  <a:lnTo>
                    <a:pt x="4126028" y="3885337"/>
                  </a:lnTo>
                  <a:lnTo>
                    <a:pt x="4116645" y="3852620"/>
                  </a:lnTo>
                  <a:lnTo>
                    <a:pt x="4130980" y="3822473"/>
                  </a:lnTo>
                  <a:cubicBezTo>
                    <a:pt x="4139172" y="3811614"/>
                    <a:pt x="4144316" y="3800897"/>
                    <a:pt x="4145911" y="3789777"/>
                  </a:cubicBezTo>
                  <a:lnTo>
                    <a:pt x="4145911" y="3789776"/>
                  </a:lnTo>
                  <a:cubicBezTo>
                    <a:pt x="4147507" y="3778655"/>
                    <a:pt x="4145554" y="3767130"/>
                    <a:pt x="4139554" y="3754652"/>
                  </a:cubicBezTo>
                  <a:lnTo>
                    <a:pt x="4139172" y="3734838"/>
                  </a:lnTo>
                  <a:lnTo>
                    <a:pt x="4143220" y="3680164"/>
                  </a:lnTo>
                  <a:lnTo>
                    <a:pt x="4143220" y="3680163"/>
                  </a:lnTo>
                  <a:lnTo>
                    <a:pt x="4140382" y="3668940"/>
                  </a:lnTo>
                  <a:lnTo>
                    <a:pt x="4136708" y="3654416"/>
                  </a:lnTo>
                  <a:lnTo>
                    <a:pt x="4136708" y="3654416"/>
                  </a:lnTo>
                  <a:lnTo>
                    <a:pt x="4136708" y="3654415"/>
                  </a:lnTo>
                  <a:cubicBezTo>
                    <a:pt x="4132898" y="3646123"/>
                    <a:pt x="4127219" y="3638157"/>
                    <a:pt x="4118979" y="3630632"/>
                  </a:cubicBezTo>
                  <a:cubicBezTo>
                    <a:pt x="4112501" y="3624725"/>
                    <a:pt x="4109835" y="3614819"/>
                    <a:pt x="4105453" y="3606817"/>
                  </a:cubicBezTo>
                  <a:cubicBezTo>
                    <a:pt x="4100976" y="3598435"/>
                    <a:pt x="4097725" y="3592232"/>
                    <a:pt x="4095707" y="3587174"/>
                  </a:cubicBezTo>
                  <a:lnTo>
                    <a:pt x="4093355" y="3574408"/>
                  </a:lnTo>
                  <a:lnTo>
                    <a:pt x="4098434" y="3562321"/>
                  </a:lnTo>
                  <a:cubicBezTo>
                    <a:pt x="4101369" y="3557716"/>
                    <a:pt x="4105548" y="3552191"/>
                    <a:pt x="4110977" y="3544714"/>
                  </a:cubicBezTo>
                  <a:cubicBezTo>
                    <a:pt x="4122407" y="3529091"/>
                    <a:pt x="4134028" y="3507564"/>
                    <a:pt x="4133076" y="3489468"/>
                  </a:cubicBezTo>
                  <a:cubicBezTo>
                    <a:pt x="4127362" y="3380306"/>
                    <a:pt x="4154794" y="3276481"/>
                    <a:pt x="4180703" y="3172655"/>
                  </a:cubicBezTo>
                  <a:cubicBezTo>
                    <a:pt x="4188705" y="3140650"/>
                    <a:pt x="4192943" y="3109026"/>
                    <a:pt x="4193158" y="3077402"/>
                  </a:cubicBezTo>
                  <a:lnTo>
                    <a:pt x="4193158" y="3077401"/>
                  </a:lnTo>
                  <a:cubicBezTo>
                    <a:pt x="4193372" y="3045777"/>
                    <a:pt x="4189562" y="3014153"/>
                    <a:pt x="4181465" y="2982148"/>
                  </a:cubicBezTo>
                  <a:lnTo>
                    <a:pt x="4177881" y="2947863"/>
                  </a:lnTo>
                  <a:lnTo>
                    <a:pt x="4177882" y="2947858"/>
                  </a:lnTo>
                  <a:lnTo>
                    <a:pt x="4185787" y="2903551"/>
                  </a:lnTo>
                  <a:lnTo>
                    <a:pt x="4202421" y="2848794"/>
                  </a:lnTo>
                  <a:cubicBezTo>
                    <a:pt x="4203754" y="2844317"/>
                    <a:pt x="4207040" y="2839983"/>
                    <a:pt x="4211111" y="2836173"/>
                  </a:cubicBezTo>
                  <a:close/>
                  <a:moveTo>
                    <a:pt x="3726625" y="1508458"/>
                  </a:moveTo>
                  <a:lnTo>
                    <a:pt x="3698531" y="1596214"/>
                  </a:lnTo>
                  <a:cubicBezTo>
                    <a:pt x="3696054" y="1604979"/>
                    <a:pt x="3697579" y="1615837"/>
                    <a:pt x="3700436" y="1624981"/>
                  </a:cubicBezTo>
                  <a:cubicBezTo>
                    <a:pt x="3710152" y="1656224"/>
                    <a:pt x="3734537" y="1676037"/>
                    <a:pt x="3757017" y="1697754"/>
                  </a:cubicBezTo>
                  <a:cubicBezTo>
                    <a:pt x="3766924" y="1707280"/>
                    <a:pt x="3773972" y="1720424"/>
                    <a:pt x="3779686" y="1733189"/>
                  </a:cubicBezTo>
                  <a:cubicBezTo>
                    <a:pt x="3794357" y="1766336"/>
                    <a:pt x="3807501" y="1800247"/>
                    <a:pt x="3821407" y="1833776"/>
                  </a:cubicBezTo>
                  <a:cubicBezTo>
                    <a:pt x="3822741" y="1837014"/>
                    <a:pt x="3826170" y="1839680"/>
                    <a:pt x="3829028" y="1842159"/>
                  </a:cubicBezTo>
                  <a:cubicBezTo>
                    <a:pt x="3859129" y="1866923"/>
                    <a:pt x="3889418" y="1891498"/>
                    <a:pt x="3919519" y="1916455"/>
                  </a:cubicBezTo>
                  <a:cubicBezTo>
                    <a:pt x="3925233" y="1921217"/>
                    <a:pt x="3929425" y="1928077"/>
                    <a:pt x="3934949" y="1933220"/>
                  </a:cubicBezTo>
                  <a:cubicBezTo>
                    <a:pt x="3942569" y="1940460"/>
                    <a:pt x="3949810" y="1949604"/>
                    <a:pt x="3958954" y="1953414"/>
                  </a:cubicBezTo>
                  <a:cubicBezTo>
                    <a:pt x="3987719" y="1965225"/>
                    <a:pt x="4000103" y="1987895"/>
                    <a:pt x="4005437" y="2016470"/>
                  </a:cubicBezTo>
                  <a:cubicBezTo>
                    <a:pt x="4010390" y="2042571"/>
                    <a:pt x="4014582" y="2068670"/>
                    <a:pt x="4020296" y="2094579"/>
                  </a:cubicBezTo>
                  <a:cubicBezTo>
                    <a:pt x="4027154" y="2126202"/>
                    <a:pt x="4034584" y="2157637"/>
                    <a:pt x="4042967" y="2188880"/>
                  </a:cubicBezTo>
                  <a:cubicBezTo>
                    <a:pt x="4046587" y="2202405"/>
                    <a:pt x="4050777" y="2216693"/>
                    <a:pt x="4058207" y="2228315"/>
                  </a:cubicBezTo>
                  <a:cubicBezTo>
                    <a:pt x="4078782" y="2260891"/>
                    <a:pt x="4092688" y="2295754"/>
                    <a:pt x="4087164" y="2334045"/>
                  </a:cubicBezTo>
                  <a:cubicBezTo>
                    <a:pt x="4082782" y="2364716"/>
                    <a:pt x="4094022" y="2390435"/>
                    <a:pt x="4111549" y="2409486"/>
                  </a:cubicBezTo>
                  <a:cubicBezTo>
                    <a:pt x="4119503" y="2418155"/>
                    <a:pt x="4125016" y="2426977"/>
                    <a:pt x="4128650" y="2435913"/>
                  </a:cubicBezTo>
                  <a:lnTo>
                    <a:pt x="4134481" y="2463018"/>
                  </a:lnTo>
                  <a:lnTo>
                    <a:pt x="4125839" y="2518262"/>
                  </a:lnTo>
                  <a:lnTo>
                    <a:pt x="4125838" y="2518264"/>
                  </a:lnTo>
                  <a:cubicBezTo>
                    <a:pt x="4123171" y="2527790"/>
                    <a:pt x="4122027" y="2536457"/>
                    <a:pt x="4122194" y="2545006"/>
                  </a:cubicBezTo>
                  <a:lnTo>
                    <a:pt x="4122194" y="2545007"/>
                  </a:lnTo>
                  <a:cubicBezTo>
                    <a:pt x="4122360" y="2553556"/>
                    <a:pt x="4123837" y="2561986"/>
                    <a:pt x="4126408" y="2571035"/>
                  </a:cubicBezTo>
                  <a:cubicBezTo>
                    <a:pt x="4138410" y="2612946"/>
                    <a:pt x="4170987" y="2640951"/>
                    <a:pt x="4199563" y="2668002"/>
                  </a:cubicBezTo>
                  <a:cubicBezTo>
                    <a:pt x="4223947" y="2691055"/>
                    <a:pt x="4237663" y="2716964"/>
                    <a:pt x="4247953" y="2745349"/>
                  </a:cubicBezTo>
                  <a:lnTo>
                    <a:pt x="4247954" y="2745352"/>
                  </a:lnTo>
                  <a:lnTo>
                    <a:pt x="4253873" y="2778006"/>
                  </a:lnTo>
                  <a:lnTo>
                    <a:pt x="4253453" y="2785440"/>
                  </a:lnTo>
                  <a:lnTo>
                    <a:pt x="4243374" y="2811780"/>
                  </a:lnTo>
                  <a:lnTo>
                    <a:pt x="4243371" y="2811787"/>
                  </a:lnTo>
                  <a:lnTo>
                    <a:pt x="4243372" y="2811787"/>
                  </a:lnTo>
                  <a:lnTo>
                    <a:pt x="4243374" y="2811780"/>
                  </a:lnTo>
                  <a:lnTo>
                    <a:pt x="4253025" y="2793023"/>
                  </a:lnTo>
                  <a:lnTo>
                    <a:pt x="4253453" y="2785440"/>
                  </a:lnTo>
                  <a:lnTo>
                    <a:pt x="4254654" y="2782305"/>
                  </a:lnTo>
                  <a:lnTo>
                    <a:pt x="4253873" y="2778006"/>
                  </a:lnTo>
                  <a:lnTo>
                    <a:pt x="4254284" y="2770758"/>
                  </a:lnTo>
                  <a:lnTo>
                    <a:pt x="4247954" y="2745352"/>
                  </a:lnTo>
                  <a:lnTo>
                    <a:pt x="4247953" y="2745348"/>
                  </a:lnTo>
                  <a:cubicBezTo>
                    <a:pt x="4237663" y="2716963"/>
                    <a:pt x="4223947" y="2691054"/>
                    <a:pt x="4199563" y="2668001"/>
                  </a:cubicBezTo>
                  <a:cubicBezTo>
                    <a:pt x="4170987" y="2640950"/>
                    <a:pt x="4138410" y="2612945"/>
                    <a:pt x="4126408" y="2571034"/>
                  </a:cubicBezTo>
                  <a:lnTo>
                    <a:pt x="4122194" y="2545007"/>
                  </a:lnTo>
                  <a:lnTo>
                    <a:pt x="4125838" y="2518265"/>
                  </a:lnTo>
                  <a:lnTo>
                    <a:pt x="4125839" y="2518262"/>
                  </a:lnTo>
                  <a:lnTo>
                    <a:pt x="4132419" y="2490551"/>
                  </a:lnTo>
                  <a:lnTo>
                    <a:pt x="4134481" y="2463018"/>
                  </a:lnTo>
                  <a:lnTo>
                    <a:pt x="4134481" y="2463017"/>
                  </a:lnTo>
                  <a:cubicBezTo>
                    <a:pt x="4133600" y="2444777"/>
                    <a:pt x="4127457" y="2426822"/>
                    <a:pt x="4111549" y="2409485"/>
                  </a:cubicBezTo>
                  <a:cubicBezTo>
                    <a:pt x="4094022" y="2390434"/>
                    <a:pt x="4082782" y="2364715"/>
                    <a:pt x="4087164" y="2334044"/>
                  </a:cubicBezTo>
                  <a:cubicBezTo>
                    <a:pt x="4092688" y="2295753"/>
                    <a:pt x="4078782" y="2260890"/>
                    <a:pt x="4058207" y="2228314"/>
                  </a:cubicBezTo>
                  <a:cubicBezTo>
                    <a:pt x="4050777" y="2216692"/>
                    <a:pt x="4046587" y="2202404"/>
                    <a:pt x="4042967" y="2188879"/>
                  </a:cubicBezTo>
                  <a:cubicBezTo>
                    <a:pt x="4034584" y="2157636"/>
                    <a:pt x="4027154" y="2126201"/>
                    <a:pt x="4020296" y="2094578"/>
                  </a:cubicBezTo>
                  <a:cubicBezTo>
                    <a:pt x="4014582" y="2068669"/>
                    <a:pt x="4010390" y="2042570"/>
                    <a:pt x="4005437" y="2016469"/>
                  </a:cubicBezTo>
                  <a:cubicBezTo>
                    <a:pt x="4000103" y="1987894"/>
                    <a:pt x="3987719" y="1965224"/>
                    <a:pt x="3958954" y="1953413"/>
                  </a:cubicBezTo>
                  <a:cubicBezTo>
                    <a:pt x="3949810" y="1949603"/>
                    <a:pt x="3942569" y="1940459"/>
                    <a:pt x="3934949" y="1933219"/>
                  </a:cubicBezTo>
                  <a:cubicBezTo>
                    <a:pt x="3929425" y="1928076"/>
                    <a:pt x="3925233" y="1921216"/>
                    <a:pt x="3919519" y="1916454"/>
                  </a:cubicBezTo>
                  <a:cubicBezTo>
                    <a:pt x="3889418" y="1891497"/>
                    <a:pt x="3859129" y="1866922"/>
                    <a:pt x="3829028" y="1842158"/>
                  </a:cubicBezTo>
                  <a:cubicBezTo>
                    <a:pt x="3826170" y="1839679"/>
                    <a:pt x="3822741" y="1837013"/>
                    <a:pt x="3821407" y="1833775"/>
                  </a:cubicBezTo>
                  <a:cubicBezTo>
                    <a:pt x="3807501" y="1800246"/>
                    <a:pt x="3794358" y="1766335"/>
                    <a:pt x="3779686" y="1733188"/>
                  </a:cubicBezTo>
                  <a:cubicBezTo>
                    <a:pt x="3773972" y="1720423"/>
                    <a:pt x="3766924" y="1707279"/>
                    <a:pt x="3757018" y="1697753"/>
                  </a:cubicBezTo>
                  <a:cubicBezTo>
                    <a:pt x="3734538" y="1676036"/>
                    <a:pt x="3710152" y="1656223"/>
                    <a:pt x="3700436" y="1624980"/>
                  </a:cubicBezTo>
                  <a:cubicBezTo>
                    <a:pt x="3697580" y="1615836"/>
                    <a:pt x="3696055" y="1604978"/>
                    <a:pt x="3698532" y="1596213"/>
                  </a:cubicBezTo>
                  <a:close/>
                  <a:moveTo>
                    <a:pt x="3745230" y="1459073"/>
                  </a:moveTo>
                  <a:lnTo>
                    <a:pt x="3745229" y="1459074"/>
                  </a:lnTo>
                  <a:lnTo>
                    <a:pt x="3736012" y="1481572"/>
                  </a:lnTo>
                  <a:close/>
                  <a:moveTo>
                    <a:pt x="3764423" y="1268758"/>
                  </a:moveTo>
                  <a:cubicBezTo>
                    <a:pt x="3764875" y="1275402"/>
                    <a:pt x="3766447" y="1281689"/>
                    <a:pt x="3769590" y="1286070"/>
                  </a:cubicBezTo>
                  <a:cubicBezTo>
                    <a:pt x="3784163" y="1306930"/>
                    <a:pt x="3790403" y="1328553"/>
                    <a:pt x="3791927" y="1350628"/>
                  </a:cubicBezTo>
                  <a:lnTo>
                    <a:pt x="3786333" y="1413840"/>
                  </a:lnTo>
                  <a:lnTo>
                    <a:pt x="3791928" y="1350627"/>
                  </a:lnTo>
                  <a:cubicBezTo>
                    <a:pt x="3790403" y="1328552"/>
                    <a:pt x="3784164" y="1306930"/>
                    <a:pt x="3769590" y="1286069"/>
                  </a:cubicBezTo>
                  <a:close/>
                  <a:moveTo>
                    <a:pt x="3706152" y="773035"/>
                  </a:moveTo>
                  <a:lnTo>
                    <a:pt x="3706152" y="773036"/>
                  </a:lnTo>
                  <a:cubicBezTo>
                    <a:pt x="3708438" y="800277"/>
                    <a:pt x="3711676" y="827330"/>
                    <a:pt x="3714152" y="854380"/>
                  </a:cubicBezTo>
                  <a:cubicBezTo>
                    <a:pt x="3716438" y="878957"/>
                    <a:pt x="3717200" y="903723"/>
                    <a:pt x="3745205" y="915344"/>
                  </a:cubicBezTo>
                  <a:cubicBezTo>
                    <a:pt x="3749587" y="917060"/>
                    <a:pt x="3752825" y="922774"/>
                    <a:pt x="3755683" y="927156"/>
                  </a:cubicBezTo>
                  <a:cubicBezTo>
                    <a:pt x="3799691" y="994786"/>
                    <a:pt x="3798547" y="1030981"/>
                    <a:pt x="3752063" y="1097088"/>
                  </a:cubicBezTo>
                  <a:cubicBezTo>
                    <a:pt x="3747301" y="1103946"/>
                    <a:pt x="3743871" y="1118614"/>
                    <a:pt x="3747681" y="1123186"/>
                  </a:cubicBezTo>
                  <a:cubicBezTo>
                    <a:pt x="3763493" y="1142618"/>
                    <a:pt x="3770542" y="1162954"/>
                    <a:pt x="3772400" y="1184029"/>
                  </a:cubicBezTo>
                  <a:cubicBezTo>
                    <a:pt x="3770542" y="1162954"/>
                    <a:pt x="3763494" y="1142617"/>
                    <a:pt x="3747682" y="1123185"/>
                  </a:cubicBezTo>
                  <a:cubicBezTo>
                    <a:pt x="3743872" y="1118613"/>
                    <a:pt x="3747302" y="1103945"/>
                    <a:pt x="3752064" y="1097087"/>
                  </a:cubicBezTo>
                  <a:cubicBezTo>
                    <a:pt x="3798548" y="1030980"/>
                    <a:pt x="3799692" y="994785"/>
                    <a:pt x="3755684" y="927155"/>
                  </a:cubicBezTo>
                  <a:cubicBezTo>
                    <a:pt x="3752826" y="922773"/>
                    <a:pt x="3749588" y="917059"/>
                    <a:pt x="3745206" y="915343"/>
                  </a:cubicBezTo>
                  <a:cubicBezTo>
                    <a:pt x="3717200" y="903722"/>
                    <a:pt x="3716438" y="878956"/>
                    <a:pt x="3714152" y="854379"/>
                  </a:cubicBezTo>
                  <a:close/>
                  <a:moveTo>
                    <a:pt x="3761553" y="517851"/>
                  </a:moveTo>
                  <a:lnTo>
                    <a:pt x="3752635" y="556048"/>
                  </a:lnTo>
                  <a:cubicBezTo>
                    <a:pt x="3750539" y="564049"/>
                    <a:pt x="3745015" y="572623"/>
                    <a:pt x="3746157" y="580051"/>
                  </a:cubicBezTo>
                  <a:cubicBezTo>
                    <a:pt x="3749491" y="601579"/>
                    <a:pt x="3747062" y="622201"/>
                    <a:pt x="3742776" y="642538"/>
                  </a:cubicBezTo>
                  <a:lnTo>
                    <a:pt x="3730253" y="694928"/>
                  </a:lnTo>
                  <a:lnTo>
                    <a:pt x="3742777" y="642537"/>
                  </a:lnTo>
                  <a:cubicBezTo>
                    <a:pt x="3747063" y="622201"/>
                    <a:pt x="3749492" y="601578"/>
                    <a:pt x="3746158" y="580050"/>
                  </a:cubicBezTo>
                  <a:cubicBezTo>
                    <a:pt x="3745016" y="572622"/>
                    <a:pt x="3750540" y="564048"/>
                    <a:pt x="3752636" y="556047"/>
                  </a:cubicBezTo>
                  <a:close/>
                  <a:moveTo>
                    <a:pt x="3774848" y="298169"/>
                  </a:moveTo>
                  <a:lnTo>
                    <a:pt x="3760065" y="313534"/>
                  </a:lnTo>
                  <a:cubicBezTo>
                    <a:pt x="3755873" y="316390"/>
                    <a:pt x="3758159" y="330299"/>
                    <a:pt x="3759493" y="338871"/>
                  </a:cubicBezTo>
                  <a:lnTo>
                    <a:pt x="3759500" y="338900"/>
                  </a:lnTo>
                  <a:lnTo>
                    <a:pt x="3769400" y="395640"/>
                  </a:lnTo>
                  <a:lnTo>
                    <a:pt x="3765590" y="367328"/>
                  </a:lnTo>
                  <a:lnTo>
                    <a:pt x="3759500" y="338900"/>
                  </a:lnTo>
                  <a:lnTo>
                    <a:pt x="3759494" y="338870"/>
                  </a:lnTo>
                  <a:cubicBezTo>
                    <a:pt x="3758160" y="330298"/>
                    <a:pt x="3755874" y="316389"/>
                    <a:pt x="3760066" y="313533"/>
                  </a:cubicBezTo>
                  <a:close/>
                  <a:moveTo>
                    <a:pt x="3782393" y="281568"/>
                  </a:moveTo>
                  <a:lnTo>
                    <a:pt x="3777498" y="295415"/>
                  </a:lnTo>
                  <a:lnTo>
                    <a:pt x="3777499" y="295415"/>
                  </a:lnTo>
                  <a:close/>
                  <a:moveTo>
                    <a:pt x="3769073" y="24486"/>
                  </a:moveTo>
                  <a:lnTo>
                    <a:pt x="3766810" y="74129"/>
                  </a:lnTo>
                  <a:cubicBezTo>
                    <a:pt x="3767733" y="91492"/>
                    <a:pt x="3770043" y="108703"/>
                    <a:pt x="3772734" y="125861"/>
                  </a:cubicBezTo>
                  <a:lnTo>
                    <a:pt x="3777129" y="153387"/>
                  </a:lnTo>
                  <a:lnTo>
                    <a:pt x="3785402" y="228944"/>
                  </a:lnTo>
                  <a:lnTo>
                    <a:pt x="3780943" y="177271"/>
                  </a:lnTo>
                  <a:lnTo>
                    <a:pt x="3777129" y="153387"/>
                  </a:lnTo>
                  <a:lnTo>
                    <a:pt x="3776930" y="151569"/>
                  </a:lnTo>
                  <a:cubicBezTo>
                    <a:pt x="3772700" y="125876"/>
                    <a:pt x="3768195" y="100174"/>
                    <a:pt x="3766811" y="74129"/>
                  </a:cubicBezTo>
                  <a:close/>
                  <a:moveTo>
                    <a:pt x="3766492" y="0"/>
                  </a:moveTo>
                  <a:lnTo>
                    <a:pt x="4230600" y="0"/>
                  </a:lnTo>
                  <a:lnTo>
                    <a:pt x="4229473" y="2817"/>
                  </a:lnTo>
                  <a:cubicBezTo>
                    <a:pt x="4221092" y="21486"/>
                    <a:pt x="4218423" y="43012"/>
                    <a:pt x="4215375" y="63587"/>
                  </a:cubicBezTo>
                  <a:cubicBezTo>
                    <a:pt x="4209851" y="101308"/>
                    <a:pt x="4206421" y="139219"/>
                    <a:pt x="4201468" y="176939"/>
                  </a:cubicBezTo>
                  <a:cubicBezTo>
                    <a:pt x="4200325" y="184941"/>
                    <a:pt x="4198231" y="194085"/>
                    <a:pt x="4193466" y="200182"/>
                  </a:cubicBezTo>
                  <a:cubicBezTo>
                    <a:pt x="4161461" y="241901"/>
                    <a:pt x="4152508" y="292579"/>
                    <a:pt x="4155554" y="340774"/>
                  </a:cubicBezTo>
                  <a:cubicBezTo>
                    <a:pt x="4157843" y="378686"/>
                    <a:pt x="4159557" y="415835"/>
                    <a:pt x="4156319" y="453364"/>
                  </a:cubicBezTo>
                  <a:cubicBezTo>
                    <a:pt x="4156127" y="456222"/>
                    <a:pt x="4156509" y="460032"/>
                    <a:pt x="4158033" y="462126"/>
                  </a:cubicBezTo>
                  <a:cubicBezTo>
                    <a:pt x="4168129" y="475081"/>
                    <a:pt x="4168891" y="488607"/>
                    <a:pt x="4170605" y="505182"/>
                  </a:cubicBezTo>
                  <a:cubicBezTo>
                    <a:pt x="4173083" y="528615"/>
                    <a:pt x="4171367" y="550141"/>
                    <a:pt x="4167177" y="571860"/>
                  </a:cubicBezTo>
                  <a:cubicBezTo>
                    <a:pt x="4164129" y="587672"/>
                    <a:pt x="4157843" y="603673"/>
                    <a:pt x="4149840" y="617772"/>
                  </a:cubicBezTo>
                  <a:cubicBezTo>
                    <a:pt x="4138600" y="637392"/>
                    <a:pt x="4134220" y="656255"/>
                    <a:pt x="4149078" y="674923"/>
                  </a:cubicBezTo>
                  <a:cubicBezTo>
                    <a:pt x="4164891" y="695116"/>
                    <a:pt x="4159367" y="717977"/>
                    <a:pt x="4159937" y="740268"/>
                  </a:cubicBezTo>
                  <a:cubicBezTo>
                    <a:pt x="4160129" y="749982"/>
                    <a:pt x="4159747" y="760270"/>
                    <a:pt x="4162223" y="769605"/>
                  </a:cubicBezTo>
                  <a:cubicBezTo>
                    <a:pt x="4169273" y="796655"/>
                    <a:pt x="4179941" y="822756"/>
                    <a:pt x="4184703" y="850189"/>
                  </a:cubicBezTo>
                  <a:cubicBezTo>
                    <a:pt x="4187370" y="865430"/>
                    <a:pt x="4182607" y="882384"/>
                    <a:pt x="4179179" y="898198"/>
                  </a:cubicBezTo>
                  <a:cubicBezTo>
                    <a:pt x="4175559" y="914200"/>
                    <a:pt x="4170035" y="930011"/>
                    <a:pt x="4164319" y="945444"/>
                  </a:cubicBezTo>
                  <a:cubicBezTo>
                    <a:pt x="4160509" y="955920"/>
                    <a:pt x="4156889" y="967350"/>
                    <a:pt x="4150030" y="975733"/>
                  </a:cubicBezTo>
                  <a:cubicBezTo>
                    <a:pt x="4134410" y="994785"/>
                    <a:pt x="4131742" y="1014406"/>
                    <a:pt x="4139934" y="1036887"/>
                  </a:cubicBezTo>
                  <a:cubicBezTo>
                    <a:pt x="4141268" y="1040315"/>
                    <a:pt x="4141268" y="1044315"/>
                    <a:pt x="4141458" y="1048125"/>
                  </a:cubicBezTo>
                  <a:cubicBezTo>
                    <a:pt x="4145458" y="1109091"/>
                    <a:pt x="4147936" y="1170051"/>
                    <a:pt x="4154032" y="1230633"/>
                  </a:cubicBezTo>
                  <a:cubicBezTo>
                    <a:pt x="4156509" y="1255206"/>
                    <a:pt x="4167367" y="1278829"/>
                    <a:pt x="4174225" y="1303024"/>
                  </a:cubicBezTo>
                  <a:cubicBezTo>
                    <a:pt x="4175559" y="1307978"/>
                    <a:pt x="4177655" y="1313504"/>
                    <a:pt x="4176701" y="1318456"/>
                  </a:cubicBezTo>
                  <a:cubicBezTo>
                    <a:pt x="4167177" y="1372368"/>
                    <a:pt x="4181083" y="1422854"/>
                    <a:pt x="4199372" y="1472575"/>
                  </a:cubicBezTo>
                  <a:cubicBezTo>
                    <a:pt x="4201278" y="1477717"/>
                    <a:pt x="4200706" y="1484004"/>
                    <a:pt x="4200325" y="1489720"/>
                  </a:cubicBezTo>
                  <a:cubicBezTo>
                    <a:pt x="4198993" y="1505724"/>
                    <a:pt x="4192324" y="1523059"/>
                    <a:pt x="4196324" y="1537537"/>
                  </a:cubicBezTo>
                  <a:cubicBezTo>
                    <a:pt x="4207374" y="1576019"/>
                    <a:pt x="4220709" y="1614120"/>
                    <a:pt x="4237474" y="1650317"/>
                  </a:cubicBezTo>
                  <a:cubicBezTo>
                    <a:pt x="4254428" y="1687086"/>
                    <a:pt x="4268716" y="1721185"/>
                    <a:pt x="4251572" y="1763287"/>
                  </a:cubicBezTo>
                  <a:cubicBezTo>
                    <a:pt x="4244332" y="1781194"/>
                    <a:pt x="4249476" y="1804816"/>
                    <a:pt x="4251380" y="1825393"/>
                  </a:cubicBezTo>
                  <a:cubicBezTo>
                    <a:pt x="4252904" y="1840441"/>
                    <a:pt x="4261478" y="1854920"/>
                    <a:pt x="4261478" y="1869780"/>
                  </a:cubicBezTo>
                  <a:cubicBezTo>
                    <a:pt x="4261478" y="1909408"/>
                    <a:pt x="4271574" y="1944649"/>
                    <a:pt x="4292149" y="1978940"/>
                  </a:cubicBezTo>
                  <a:cubicBezTo>
                    <a:pt x="4300150" y="1992279"/>
                    <a:pt x="4294815" y="2013043"/>
                    <a:pt x="4296911" y="2030378"/>
                  </a:cubicBezTo>
                  <a:cubicBezTo>
                    <a:pt x="4299388" y="2048668"/>
                    <a:pt x="4301673" y="2067525"/>
                    <a:pt x="4307201" y="2085054"/>
                  </a:cubicBezTo>
                  <a:cubicBezTo>
                    <a:pt x="4321679" y="2130393"/>
                    <a:pt x="4338062" y="2175163"/>
                    <a:pt x="4353302" y="2220312"/>
                  </a:cubicBezTo>
                  <a:cubicBezTo>
                    <a:pt x="4365877" y="2257459"/>
                    <a:pt x="4355970" y="2294039"/>
                    <a:pt x="4350636" y="2330806"/>
                  </a:cubicBezTo>
                  <a:cubicBezTo>
                    <a:pt x="4347205" y="2353859"/>
                    <a:pt x="4339013" y="2375383"/>
                    <a:pt x="4351206" y="2401292"/>
                  </a:cubicBezTo>
                  <a:cubicBezTo>
                    <a:pt x="4362828" y="2426059"/>
                    <a:pt x="4360160" y="2457492"/>
                    <a:pt x="4366446" y="2485307"/>
                  </a:cubicBezTo>
                  <a:cubicBezTo>
                    <a:pt x="4371781" y="2508742"/>
                    <a:pt x="4380354" y="2531409"/>
                    <a:pt x="4388736" y="2554079"/>
                  </a:cubicBezTo>
                  <a:cubicBezTo>
                    <a:pt x="4400168" y="2584942"/>
                    <a:pt x="4412167" y="2615421"/>
                    <a:pt x="4406453" y="2649143"/>
                  </a:cubicBezTo>
                  <a:cubicBezTo>
                    <a:pt x="4399976" y="2687436"/>
                    <a:pt x="4424359" y="2713723"/>
                    <a:pt x="4440554" y="2743826"/>
                  </a:cubicBezTo>
                  <a:cubicBezTo>
                    <a:pt x="4451603" y="2764590"/>
                    <a:pt x="4459795" y="2787259"/>
                    <a:pt x="4466653" y="2809930"/>
                  </a:cubicBezTo>
                  <a:cubicBezTo>
                    <a:pt x="4475607" y="2840219"/>
                    <a:pt x="4480941" y="2871462"/>
                    <a:pt x="4489705" y="2901943"/>
                  </a:cubicBezTo>
                  <a:cubicBezTo>
                    <a:pt x="4502848" y="2948047"/>
                    <a:pt x="4513137" y="2994722"/>
                    <a:pt x="4505897" y="3042728"/>
                  </a:cubicBezTo>
                  <a:cubicBezTo>
                    <a:pt x="4502659" y="3064827"/>
                    <a:pt x="4502848" y="3085403"/>
                    <a:pt x="4507613" y="3107500"/>
                  </a:cubicBezTo>
                  <a:cubicBezTo>
                    <a:pt x="4515422" y="3143695"/>
                    <a:pt x="4516376" y="3180844"/>
                    <a:pt x="4545521" y="3209993"/>
                  </a:cubicBezTo>
                  <a:cubicBezTo>
                    <a:pt x="4555811" y="3220280"/>
                    <a:pt x="4558477" y="3238758"/>
                    <a:pt x="4563811" y="3253809"/>
                  </a:cubicBezTo>
                  <a:cubicBezTo>
                    <a:pt x="4570099" y="3271145"/>
                    <a:pt x="4566858" y="3283908"/>
                    <a:pt x="4548570" y="3293244"/>
                  </a:cubicBezTo>
                  <a:cubicBezTo>
                    <a:pt x="4540379" y="3297434"/>
                    <a:pt x="4532378" y="3309437"/>
                    <a:pt x="4531043" y="3318771"/>
                  </a:cubicBezTo>
                  <a:cubicBezTo>
                    <a:pt x="4527043" y="3346776"/>
                    <a:pt x="4532950" y="3372495"/>
                    <a:pt x="4545904" y="3399546"/>
                  </a:cubicBezTo>
                  <a:cubicBezTo>
                    <a:pt x="4558096" y="3424883"/>
                    <a:pt x="4556762" y="3456508"/>
                    <a:pt x="4561524" y="3485275"/>
                  </a:cubicBezTo>
                  <a:cubicBezTo>
                    <a:pt x="4564954" y="3505657"/>
                    <a:pt x="4572002" y="3526042"/>
                    <a:pt x="4572002" y="3546617"/>
                  </a:cubicBezTo>
                  <a:cubicBezTo>
                    <a:pt x="4572002" y="3572146"/>
                    <a:pt x="4565907" y="3597482"/>
                    <a:pt x="4563620" y="3623201"/>
                  </a:cubicBezTo>
                  <a:cubicBezTo>
                    <a:pt x="4561716" y="3643204"/>
                    <a:pt x="4562478" y="3663589"/>
                    <a:pt x="4560192" y="3683591"/>
                  </a:cubicBezTo>
                  <a:cubicBezTo>
                    <a:pt x="4558477" y="3699976"/>
                    <a:pt x="4554096" y="3716168"/>
                    <a:pt x="4550476" y="3732361"/>
                  </a:cubicBezTo>
                  <a:cubicBezTo>
                    <a:pt x="4549142" y="3738267"/>
                    <a:pt x="4543998" y="3744173"/>
                    <a:pt x="4544759" y="3749506"/>
                  </a:cubicBezTo>
                  <a:cubicBezTo>
                    <a:pt x="4552953" y="3802467"/>
                    <a:pt x="4516376" y="3840569"/>
                    <a:pt x="4500182" y="3885338"/>
                  </a:cubicBezTo>
                  <a:cubicBezTo>
                    <a:pt x="4483035" y="3932394"/>
                    <a:pt x="4456748" y="3977925"/>
                    <a:pt x="4464557" y="4030503"/>
                  </a:cubicBezTo>
                  <a:cubicBezTo>
                    <a:pt x="4469319" y="4062318"/>
                    <a:pt x="4480369" y="4092989"/>
                    <a:pt x="4487039" y="4124614"/>
                  </a:cubicBezTo>
                  <a:cubicBezTo>
                    <a:pt x="4489324" y="4135854"/>
                    <a:pt x="4488943" y="4148427"/>
                    <a:pt x="4486656" y="4159667"/>
                  </a:cubicBezTo>
                  <a:cubicBezTo>
                    <a:pt x="4476177" y="4213961"/>
                    <a:pt x="4474653" y="4267493"/>
                    <a:pt x="4491801" y="4320837"/>
                  </a:cubicBezTo>
                  <a:cubicBezTo>
                    <a:pt x="4494659" y="4329979"/>
                    <a:pt x="4497325" y="4339695"/>
                    <a:pt x="4497325" y="4349222"/>
                  </a:cubicBezTo>
                  <a:cubicBezTo>
                    <a:pt x="4497325" y="4401419"/>
                    <a:pt x="4493324" y="4452665"/>
                    <a:pt x="4474653" y="4502579"/>
                  </a:cubicBezTo>
                  <a:cubicBezTo>
                    <a:pt x="4468368" y="4519343"/>
                    <a:pt x="4472368" y="4539728"/>
                    <a:pt x="4470844" y="4558207"/>
                  </a:cubicBezTo>
                  <a:cubicBezTo>
                    <a:pt x="4469511" y="4575351"/>
                    <a:pt x="4468940" y="4592878"/>
                    <a:pt x="4464557" y="4609452"/>
                  </a:cubicBezTo>
                  <a:cubicBezTo>
                    <a:pt x="4458082" y="4633647"/>
                    <a:pt x="4457320" y="4656126"/>
                    <a:pt x="4463033" y="4681083"/>
                  </a:cubicBezTo>
                  <a:cubicBezTo>
                    <a:pt x="4468368" y="4704895"/>
                    <a:pt x="4465702" y="4730614"/>
                    <a:pt x="4465891" y="4755381"/>
                  </a:cubicBezTo>
                  <a:cubicBezTo>
                    <a:pt x="4466082" y="4783004"/>
                    <a:pt x="4466272" y="4810627"/>
                    <a:pt x="4465319" y="4838250"/>
                  </a:cubicBezTo>
                  <a:cubicBezTo>
                    <a:pt x="4464940" y="4849300"/>
                    <a:pt x="4457320" y="4861873"/>
                    <a:pt x="4460367" y="4871019"/>
                  </a:cubicBezTo>
                  <a:cubicBezTo>
                    <a:pt x="4470653" y="4900546"/>
                    <a:pt x="4458271" y="4930075"/>
                    <a:pt x="4463795" y="4959602"/>
                  </a:cubicBezTo>
                  <a:cubicBezTo>
                    <a:pt x="4466653" y="4974082"/>
                    <a:pt x="4458844" y="4990465"/>
                    <a:pt x="4458082" y="5006086"/>
                  </a:cubicBezTo>
                  <a:cubicBezTo>
                    <a:pt x="4456748" y="5031614"/>
                    <a:pt x="4457320" y="5057141"/>
                    <a:pt x="4456937" y="5082670"/>
                  </a:cubicBezTo>
                  <a:cubicBezTo>
                    <a:pt x="4456748" y="5091052"/>
                    <a:pt x="4455986" y="5099245"/>
                    <a:pt x="4455603" y="5107627"/>
                  </a:cubicBezTo>
                  <a:cubicBezTo>
                    <a:pt x="4455223" y="5115057"/>
                    <a:pt x="4453508" y="5122867"/>
                    <a:pt x="4454840" y="5129916"/>
                  </a:cubicBezTo>
                  <a:cubicBezTo>
                    <a:pt x="4459605" y="5155445"/>
                    <a:pt x="4467415" y="5180591"/>
                    <a:pt x="4470464" y="5206308"/>
                  </a:cubicBezTo>
                  <a:cubicBezTo>
                    <a:pt x="4473130" y="5228597"/>
                    <a:pt x="4469511" y="5251650"/>
                    <a:pt x="4471415" y="5274129"/>
                  </a:cubicBezTo>
                  <a:cubicBezTo>
                    <a:pt x="4474653" y="5313754"/>
                    <a:pt x="4480369" y="5353379"/>
                    <a:pt x="4483990" y="5393005"/>
                  </a:cubicBezTo>
                  <a:cubicBezTo>
                    <a:pt x="4484752" y="5401579"/>
                    <a:pt x="4479988" y="5410531"/>
                    <a:pt x="4479607" y="5419295"/>
                  </a:cubicBezTo>
                  <a:cubicBezTo>
                    <a:pt x="4478656" y="5446728"/>
                    <a:pt x="4478464" y="5474161"/>
                    <a:pt x="4477894" y="5501594"/>
                  </a:cubicBezTo>
                  <a:cubicBezTo>
                    <a:pt x="4477702" y="5517215"/>
                    <a:pt x="4478273" y="5533027"/>
                    <a:pt x="4476560" y="5548460"/>
                  </a:cubicBezTo>
                  <a:cubicBezTo>
                    <a:pt x="4474273" y="5568842"/>
                    <a:pt x="4470844" y="5587321"/>
                    <a:pt x="4485703" y="5606372"/>
                  </a:cubicBezTo>
                  <a:cubicBezTo>
                    <a:pt x="4508755" y="5635711"/>
                    <a:pt x="4499801" y="5673050"/>
                    <a:pt x="4505134" y="5706959"/>
                  </a:cubicBezTo>
                  <a:cubicBezTo>
                    <a:pt x="4506468" y="5715723"/>
                    <a:pt x="4506659" y="5724678"/>
                    <a:pt x="4508183" y="5733440"/>
                  </a:cubicBezTo>
                  <a:cubicBezTo>
                    <a:pt x="4511041" y="5749634"/>
                    <a:pt x="4514279" y="5765635"/>
                    <a:pt x="4517519" y="5781830"/>
                  </a:cubicBezTo>
                  <a:cubicBezTo>
                    <a:pt x="4518089" y="5784686"/>
                    <a:pt x="4518281" y="5787924"/>
                    <a:pt x="4519234" y="5790592"/>
                  </a:cubicBezTo>
                  <a:cubicBezTo>
                    <a:pt x="4527233" y="5815169"/>
                    <a:pt x="4536378" y="5839361"/>
                    <a:pt x="4542855" y="5864318"/>
                  </a:cubicBezTo>
                  <a:cubicBezTo>
                    <a:pt x="4546095" y="5876511"/>
                    <a:pt x="4546476" y="5890037"/>
                    <a:pt x="4544759" y="5902610"/>
                  </a:cubicBezTo>
                  <a:cubicBezTo>
                    <a:pt x="4539808" y="5939377"/>
                    <a:pt x="4537712" y="5975764"/>
                    <a:pt x="4544951" y="6012723"/>
                  </a:cubicBezTo>
                  <a:cubicBezTo>
                    <a:pt x="4547808" y="6027392"/>
                    <a:pt x="4543045" y="6043776"/>
                    <a:pt x="4541332" y="6059397"/>
                  </a:cubicBezTo>
                  <a:cubicBezTo>
                    <a:pt x="4536759" y="6096736"/>
                    <a:pt x="4531805" y="6134075"/>
                    <a:pt x="4527426" y="6171605"/>
                  </a:cubicBezTo>
                  <a:cubicBezTo>
                    <a:pt x="4524758" y="6195037"/>
                    <a:pt x="4523234" y="6218660"/>
                    <a:pt x="4520568" y="6242093"/>
                  </a:cubicBezTo>
                  <a:cubicBezTo>
                    <a:pt x="4517327" y="6269144"/>
                    <a:pt x="4512375" y="6296005"/>
                    <a:pt x="4509706" y="6323058"/>
                  </a:cubicBezTo>
                  <a:cubicBezTo>
                    <a:pt x="4506659" y="6353919"/>
                    <a:pt x="4506089" y="6384972"/>
                    <a:pt x="4502848" y="6415833"/>
                  </a:cubicBezTo>
                  <a:cubicBezTo>
                    <a:pt x="4496563" y="6472225"/>
                    <a:pt x="4489132" y="6528424"/>
                    <a:pt x="4482084" y="6584812"/>
                  </a:cubicBezTo>
                  <a:cubicBezTo>
                    <a:pt x="4475226" y="6639488"/>
                    <a:pt x="4469129" y="6694164"/>
                    <a:pt x="4460557" y="6748458"/>
                  </a:cubicBezTo>
                  <a:cubicBezTo>
                    <a:pt x="4456937" y="6771319"/>
                    <a:pt x="4447030" y="6793035"/>
                    <a:pt x="4441507" y="6815516"/>
                  </a:cubicBezTo>
                  <a:lnTo>
                    <a:pt x="4431806" y="6858001"/>
                  </a:lnTo>
                  <a:lnTo>
                    <a:pt x="4259554" y="6858001"/>
                  </a:lnTo>
                  <a:lnTo>
                    <a:pt x="4259554" y="6858002"/>
                  </a:lnTo>
                  <a:lnTo>
                    <a:pt x="0" y="6858002"/>
                  </a:lnTo>
                  <a:lnTo>
                    <a:pt x="0" y="2"/>
                  </a:lnTo>
                  <a:lnTo>
                    <a:pt x="3766492" y="1"/>
                  </a:lnTo>
                  <a:lnTo>
                    <a:pt x="3769210" y="21486"/>
                  </a:lnTo>
                  <a:close/>
                </a:path>
              </a:pathLst>
            </a:cu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057" name="Group 2056">
              <a:extLst>
                <a:ext uri="{FF2B5EF4-FFF2-40B4-BE49-F238E27FC236}">
                  <a16:creationId xmlns:a16="http://schemas.microsoft.com/office/drawing/2014/main" id="{1BCD9601-1F44-4E40-998C-1B256DAE9464}"/>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697284" y="-1"/>
              <a:ext cx="884241" cy="6858002"/>
              <a:chOff x="3697284" y="-1"/>
              <a:chExt cx="884241" cy="6858002"/>
            </a:xfrm>
          </p:grpSpPr>
          <p:grpSp>
            <p:nvGrpSpPr>
              <p:cNvPr id="2058" name="Group 2057">
                <a:extLst>
                  <a:ext uri="{FF2B5EF4-FFF2-40B4-BE49-F238E27FC236}">
                    <a16:creationId xmlns:a16="http://schemas.microsoft.com/office/drawing/2014/main" id="{1A1CA4E9-12FA-47EB-8471-25E8D55152C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697284" y="-1"/>
                <a:ext cx="884241" cy="6858001"/>
                <a:chOff x="3697284" y="-1"/>
                <a:chExt cx="884241" cy="6858001"/>
              </a:xfrm>
              <a:solidFill>
                <a:srgbClr val="FFFFFF"/>
              </a:solidFill>
              <a:effectLst/>
            </p:grpSpPr>
            <p:sp>
              <p:nvSpPr>
                <p:cNvPr id="2062" name="Freeform: Shape 2061">
                  <a:extLst>
                    <a:ext uri="{FF2B5EF4-FFF2-40B4-BE49-F238E27FC236}">
                      <a16:creationId xmlns:a16="http://schemas.microsoft.com/office/drawing/2014/main" id="{E13A9BF0-334C-4457-A635-9CA4877EAAF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05641"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63" name="Freeform: Shape 2062">
                  <a:extLst>
                    <a:ext uri="{FF2B5EF4-FFF2-40B4-BE49-F238E27FC236}">
                      <a16:creationId xmlns:a16="http://schemas.microsoft.com/office/drawing/2014/main" id="{FF05821A-8598-44E4-A18C-538D5331E45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15166"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059" name="Group 2058">
                <a:extLst>
                  <a:ext uri="{FF2B5EF4-FFF2-40B4-BE49-F238E27FC236}">
                    <a16:creationId xmlns:a16="http://schemas.microsoft.com/office/drawing/2014/main" id="{8A4ECC81-E17F-4F87-9A0B-398363A864A4}"/>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697284" y="0"/>
                <a:ext cx="884241" cy="6858001"/>
                <a:chOff x="3697284" y="-1"/>
                <a:chExt cx="884241" cy="6858001"/>
              </a:xfrm>
              <a:blipFill>
                <a:blip r:embed="rId3">
                  <a:alphaModFix amt="57000"/>
                </a:blip>
                <a:tile tx="0" ty="0" sx="100000" sy="100000" flip="none" algn="tl"/>
              </a:blipFill>
              <a:effectLst/>
            </p:grpSpPr>
            <p:sp>
              <p:nvSpPr>
                <p:cNvPr id="2060" name="Freeform: Shape 2059">
                  <a:extLst>
                    <a:ext uri="{FF2B5EF4-FFF2-40B4-BE49-F238E27FC236}">
                      <a16:creationId xmlns:a16="http://schemas.microsoft.com/office/drawing/2014/main" id="{1FBBD7D8-A895-40D0-A53D-DEDF495B2F1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05641"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61" name="Freeform: Shape 2060">
                  <a:extLst>
                    <a:ext uri="{FF2B5EF4-FFF2-40B4-BE49-F238E27FC236}">
                      <a16:creationId xmlns:a16="http://schemas.microsoft.com/office/drawing/2014/main" id="{BA602493-BC70-48CF-BDBA-88A86622742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flipH="1">
                  <a:off x="715166" y="2991642"/>
                  <a:ext cx="6858001" cy="874716"/>
                </a:xfrm>
                <a:custGeom>
                  <a:avLst/>
                  <a:gdLst>
                    <a:gd name="connsiteX0" fmla="*/ 0 w 6858001"/>
                    <a:gd name="connsiteY0" fmla="*/ 533314 h 874716"/>
                    <a:gd name="connsiteX1" fmla="*/ 0 w 6858001"/>
                    <a:gd name="connsiteY1" fmla="*/ 69206 h 874716"/>
                    <a:gd name="connsiteX2" fmla="*/ 21486 w 6858001"/>
                    <a:gd name="connsiteY2" fmla="*/ 71924 h 874716"/>
                    <a:gd name="connsiteX3" fmla="*/ 228948 w 6858001"/>
                    <a:gd name="connsiteY3" fmla="*/ 88116 h 874716"/>
                    <a:gd name="connsiteX4" fmla="*/ 313533 w 6858001"/>
                    <a:gd name="connsiteY4" fmla="*/ 62779 h 874716"/>
                    <a:gd name="connsiteX5" fmla="*/ 338870 w 6858001"/>
                    <a:gd name="connsiteY5" fmla="*/ 62207 h 874716"/>
                    <a:gd name="connsiteX6" fmla="*/ 395640 w 6858001"/>
                    <a:gd name="connsiteY6" fmla="*/ 72114 h 874716"/>
                    <a:gd name="connsiteX7" fmla="*/ 512802 w 6858001"/>
                    <a:gd name="connsiteY7" fmla="*/ 65446 h 874716"/>
                    <a:gd name="connsiteX8" fmla="*/ 556047 w 6858001"/>
                    <a:gd name="connsiteY8" fmla="*/ 55349 h 874716"/>
                    <a:gd name="connsiteX9" fmla="*/ 580050 w 6858001"/>
                    <a:gd name="connsiteY9" fmla="*/ 48871 h 874716"/>
                    <a:gd name="connsiteX10" fmla="*/ 703308 w 6858001"/>
                    <a:gd name="connsiteY10" fmla="*/ 30964 h 874716"/>
                    <a:gd name="connsiteX11" fmla="*/ 758174 w 6858001"/>
                    <a:gd name="connsiteY11" fmla="*/ 11724 h 874716"/>
                    <a:gd name="connsiteX12" fmla="*/ 773035 w 6858001"/>
                    <a:gd name="connsiteY12" fmla="*/ 8866 h 874716"/>
                    <a:gd name="connsiteX13" fmla="*/ 854379 w 6858001"/>
                    <a:gd name="connsiteY13" fmla="*/ 16866 h 874716"/>
                    <a:gd name="connsiteX14" fmla="*/ 915343 w 6858001"/>
                    <a:gd name="connsiteY14" fmla="*/ 47919 h 874716"/>
                    <a:gd name="connsiteX15" fmla="*/ 927155 w 6858001"/>
                    <a:gd name="connsiteY15" fmla="*/ 58397 h 874716"/>
                    <a:gd name="connsiteX16" fmla="*/ 1097087 w 6858001"/>
                    <a:gd name="connsiteY16" fmla="*/ 54777 h 874716"/>
                    <a:gd name="connsiteX17" fmla="*/ 1123185 w 6858001"/>
                    <a:gd name="connsiteY17" fmla="*/ 50395 h 874716"/>
                    <a:gd name="connsiteX18" fmla="*/ 1249302 w 6858001"/>
                    <a:gd name="connsiteY18" fmla="*/ 68684 h 874716"/>
                    <a:gd name="connsiteX19" fmla="*/ 1286069 w 6858001"/>
                    <a:gd name="connsiteY19" fmla="*/ 72304 h 874716"/>
                    <a:gd name="connsiteX20" fmla="*/ 1417899 w 6858001"/>
                    <a:gd name="connsiteY20" fmla="*/ 88688 h 874716"/>
                    <a:gd name="connsiteX21" fmla="*/ 1436568 w 6858001"/>
                    <a:gd name="connsiteY21" fmla="*/ 73448 h 874716"/>
                    <a:gd name="connsiteX22" fmla="*/ 1490292 w 6858001"/>
                    <a:gd name="connsiteY22" fmla="*/ 35154 h 874716"/>
                    <a:gd name="connsiteX23" fmla="*/ 1596213 w 6858001"/>
                    <a:gd name="connsiteY23" fmla="*/ 1245 h 874716"/>
                    <a:gd name="connsiteX24" fmla="*/ 1624980 w 6858001"/>
                    <a:gd name="connsiteY24" fmla="*/ 3150 h 874716"/>
                    <a:gd name="connsiteX25" fmla="*/ 1697753 w 6858001"/>
                    <a:gd name="connsiteY25" fmla="*/ 59731 h 874716"/>
                    <a:gd name="connsiteX26" fmla="*/ 1733188 w 6858001"/>
                    <a:gd name="connsiteY26" fmla="*/ 82400 h 874716"/>
                    <a:gd name="connsiteX27" fmla="*/ 1833775 w 6858001"/>
                    <a:gd name="connsiteY27" fmla="*/ 124121 h 874716"/>
                    <a:gd name="connsiteX28" fmla="*/ 1842158 w 6858001"/>
                    <a:gd name="connsiteY28" fmla="*/ 131742 h 874716"/>
                    <a:gd name="connsiteX29" fmla="*/ 1916454 w 6858001"/>
                    <a:gd name="connsiteY29" fmla="*/ 222233 h 874716"/>
                    <a:gd name="connsiteX30" fmla="*/ 1933219 w 6858001"/>
                    <a:gd name="connsiteY30" fmla="*/ 237663 h 874716"/>
                    <a:gd name="connsiteX31" fmla="*/ 1953413 w 6858001"/>
                    <a:gd name="connsiteY31" fmla="*/ 261668 h 874716"/>
                    <a:gd name="connsiteX32" fmla="*/ 2016469 w 6858001"/>
                    <a:gd name="connsiteY32" fmla="*/ 308151 h 874716"/>
                    <a:gd name="connsiteX33" fmla="*/ 2094578 w 6858001"/>
                    <a:gd name="connsiteY33" fmla="*/ 323010 h 874716"/>
                    <a:gd name="connsiteX34" fmla="*/ 2188879 w 6858001"/>
                    <a:gd name="connsiteY34" fmla="*/ 345681 h 874716"/>
                    <a:gd name="connsiteX35" fmla="*/ 2228314 w 6858001"/>
                    <a:gd name="connsiteY35" fmla="*/ 360921 h 874716"/>
                    <a:gd name="connsiteX36" fmla="*/ 2334044 w 6858001"/>
                    <a:gd name="connsiteY36" fmla="*/ 389878 h 874716"/>
                    <a:gd name="connsiteX37" fmla="*/ 2409485 w 6858001"/>
                    <a:gd name="connsiteY37" fmla="*/ 414263 h 874716"/>
                    <a:gd name="connsiteX38" fmla="*/ 2518264 w 6858001"/>
                    <a:gd name="connsiteY38" fmla="*/ 428552 h 874716"/>
                    <a:gd name="connsiteX39" fmla="*/ 2571034 w 6858001"/>
                    <a:gd name="connsiteY39" fmla="*/ 429122 h 874716"/>
                    <a:gd name="connsiteX40" fmla="*/ 2668001 w 6858001"/>
                    <a:gd name="connsiteY40" fmla="*/ 502276 h 874716"/>
                    <a:gd name="connsiteX41" fmla="*/ 2745348 w 6858001"/>
                    <a:gd name="connsiteY41" fmla="*/ 550666 h 874716"/>
                    <a:gd name="connsiteX42" fmla="*/ 2826694 w 6858001"/>
                    <a:gd name="connsiteY42" fmla="*/ 527233 h 874716"/>
                    <a:gd name="connsiteX43" fmla="*/ 2848793 w 6858001"/>
                    <a:gd name="connsiteY43" fmla="*/ 505134 h 874716"/>
                    <a:gd name="connsiteX44" fmla="*/ 2982148 w 6858001"/>
                    <a:gd name="connsiteY44" fmla="*/ 484179 h 874716"/>
                    <a:gd name="connsiteX45" fmla="*/ 3172654 w 6858001"/>
                    <a:gd name="connsiteY45" fmla="*/ 483417 h 874716"/>
                    <a:gd name="connsiteX46" fmla="*/ 3489467 w 6858001"/>
                    <a:gd name="connsiteY46" fmla="*/ 435790 h 874716"/>
                    <a:gd name="connsiteX47" fmla="*/ 3544713 w 6858001"/>
                    <a:gd name="connsiteY47" fmla="*/ 413691 h 874716"/>
                    <a:gd name="connsiteX48" fmla="*/ 3606817 w 6858001"/>
                    <a:gd name="connsiteY48" fmla="*/ 408167 h 874716"/>
                    <a:gd name="connsiteX49" fmla="*/ 3630632 w 6858001"/>
                    <a:gd name="connsiteY49" fmla="*/ 421693 h 874716"/>
                    <a:gd name="connsiteX50" fmla="*/ 3734837 w 6858001"/>
                    <a:gd name="connsiteY50" fmla="*/ 441886 h 874716"/>
                    <a:gd name="connsiteX51" fmla="*/ 3754652 w 6858001"/>
                    <a:gd name="connsiteY51" fmla="*/ 442268 h 874716"/>
                    <a:gd name="connsiteX52" fmla="*/ 3822472 w 6858001"/>
                    <a:gd name="connsiteY52" fmla="*/ 433694 h 874716"/>
                    <a:gd name="connsiteX53" fmla="*/ 3885338 w 6858001"/>
                    <a:gd name="connsiteY53" fmla="*/ 428742 h 874716"/>
                    <a:gd name="connsiteX54" fmla="*/ 4043839 w 6858001"/>
                    <a:gd name="connsiteY54" fmla="*/ 444934 h 874716"/>
                    <a:gd name="connsiteX55" fmla="*/ 4165383 w 6858001"/>
                    <a:gd name="connsiteY55" fmla="*/ 441124 h 874716"/>
                    <a:gd name="connsiteX56" fmla="*/ 4221391 w 6858001"/>
                    <a:gd name="connsiteY56" fmla="*/ 444934 h 874716"/>
                    <a:gd name="connsiteX57" fmla="*/ 4253014 w 6858001"/>
                    <a:gd name="connsiteY57" fmla="*/ 450650 h 874716"/>
                    <a:gd name="connsiteX58" fmla="*/ 4324645 w 6858001"/>
                    <a:gd name="connsiteY58" fmla="*/ 490466 h 874716"/>
                    <a:gd name="connsiteX59" fmla="*/ 4363890 w 6858001"/>
                    <a:gd name="connsiteY59" fmla="*/ 499420 h 874716"/>
                    <a:gd name="connsiteX60" fmla="*/ 4482004 w 6858001"/>
                    <a:gd name="connsiteY60" fmla="*/ 498658 h 874716"/>
                    <a:gd name="connsiteX61" fmla="*/ 4659174 w 6858001"/>
                    <a:gd name="connsiteY61" fmla="*/ 438648 h 874716"/>
                    <a:gd name="connsiteX62" fmla="*/ 4677655 w 6858001"/>
                    <a:gd name="connsiteY62" fmla="*/ 430646 h 874716"/>
                    <a:gd name="connsiteX63" fmla="*/ 4767764 w 6858001"/>
                    <a:gd name="connsiteY63" fmla="*/ 420739 h 874716"/>
                    <a:gd name="connsiteX64" fmla="*/ 4828916 w 6858001"/>
                    <a:gd name="connsiteY64" fmla="*/ 434266 h 874716"/>
                    <a:gd name="connsiteX65" fmla="*/ 4912168 w 6858001"/>
                    <a:gd name="connsiteY65" fmla="*/ 462271 h 874716"/>
                    <a:gd name="connsiteX66" fmla="*/ 4987037 w 6858001"/>
                    <a:gd name="connsiteY66" fmla="*/ 485703 h 874716"/>
                    <a:gd name="connsiteX67" fmla="*/ 5041521 w 6858001"/>
                    <a:gd name="connsiteY67" fmla="*/ 512182 h 874716"/>
                    <a:gd name="connsiteX68" fmla="*/ 5166113 w 6858001"/>
                    <a:gd name="connsiteY68" fmla="*/ 531615 h 874716"/>
                    <a:gd name="connsiteX69" fmla="*/ 5179067 w 6858001"/>
                    <a:gd name="connsiteY69" fmla="*/ 534853 h 874716"/>
                    <a:gd name="connsiteX70" fmla="*/ 5272796 w 6858001"/>
                    <a:gd name="connsiteY70" fmla="*/ 511230 h 874716"/>
                    <a:gd name="connsiteX71" fmla="*/ 5385384 w 6858001"/>
                    <a:gd name="connsiteY71" fmla="*/ 487227 h 874716"/>
                    <a:gd name="connsiteX72" fmla="*/ 5425582 w 6858001"/>
                    <a:gd name="connsiteY72" fmla="*/ 495418 h 874716"/>
                    <a:gd name="connsiteX73" fmla="*/ 5480637 w 6858001"/>
                    <a:gd name="connsiteY73" fmla="*/ 507040 h 874716"/>
                    <a:gd name="connsiteX74" fmla="*/ 5531693 w 6858001"/>
                    <a:gd name="connsiteY74" fmla="*/ 500944 h 874716"/>
                    <a:gd name="connsiteX75" fmla="*/ 5562746 w 6858001"/>
                    <a:gd name="connsiteY75" fmla="*/ 500372 h 874716"/>
                    <a:gd name="connsiteX76" fmla="*/ 5704483 w 6858001"/>
                    <a:gd name="connsiteY76" fmla="*/ 571620 h 874716"/>
                    <a:gd name="connsiteX77" fmla="*/ 5740488 w 6858001"/>
                    <a:gd name="connsiteY77" fmla="*/ 577526 h 874716"/>
                    <a:gd name="connsiteX78" fmla="*/ 5760873 w 6858001"/>
                    <a:gd name="connsiteY78" fmla="*/ 586291 h 874716"/>
                    <a:gd name="connsiteX79" fmla="*/ 5883751 w 6858001"/>
                    <a:gd name="connsiteY79" fmla="*/ 674686 h 874716"/>
                    <a:gd name="connsiteX80" fmla="*/ 5935949 w 6858001"/>
                    <a:gd name="connsiteY80" fmla="*/ 692592 h 874716"/>
                    <a:gd name="connsiteX81" fmla="*/ 5993291 w 6858001"/>
                    <a:gd name="connsiteY81" fmla="*/ 688972 h 874716"/>
                    <a:gd name="connsiteX82" fmla="*/ 6026440 w 6858001"/>
                    <a:gd name="connsiteY82" fmla="*/ 682496 h 874716"/>
                    <a:gd name="connsiteX83" fmla="*/ 6108738 w 6858001"/>
                    <a:gd name="connsiteY83" fmla="*/ 626296 h 874716"/>
                    <a:gd name="connsiteX84" fmla="*/ 6155602 w 6858001"/>
                    <a:gd name="connsiteY84" fmla="*/ 628202 h 874716"/>
                    <a:gd name="connsiteX85" fmla="*/ 6228756 w 6858001"/>
                    <a:gd name="connsiteY85" fmla="*/ 666873 h 874716"/>
                    <a:gd name="connsiteX86" fmla="*/ 6361539 w 6858001"/>
                    <a:gd name="connsiteY86" fmla="*/ 684210 h 874716"/>
                    <a:gd name="connsiteX87" fmla="*/ 6428979 w 6858001"/>
                    <a:gd name="connsiteY87" fmla="*/ 630106 h 874716"/>
                    <a:gd name="connsiteX88" fmla="*/ 6463840 w 6858001"/>
                    <a:gd name="connsiteY88" fmla="*/ 578098 h 874716"/>
                    <a:gd name="connsiteX89" fmla="*/ 6564620 w 6858001"/>
                    <a:gd name="connsiteY89" fmla="*/ 517708 h 874716"/>
                    <a:gd name="connsiteX90" fmla="*/ 6588625 w 6858001"/>
                    <a:gd name="connsiteY90" fmla="*/ 540187 h 874716"/>
                    <a:gd name="connsiteX91" fmla="*/ 6662541 w 6858001"/>
                    <a:gd name="connsiteY91" fmla="*/ 549714 h 874716"/>
                    <a:gd name="connsiteX92" fmla="*/ 6742552 w 6858001"/>
                    <a:gd name="connsiteY92" fmla="*/ 548952 h 874716"/>
                    <a:gd name="connsiteX93" fmla="*/ 6812063 w 6858001"/>
                    <a:gd name="connsiteY93" fmla="*/ 568430 h 874716"/>
                    <a:gd name="connsiteX94" fmla="*/ 6858001 w 6858001"/>
                    <a:gd name="connsiteY94" fmla="*/ 562267 h 874716"/>
                    <a:gd name="connsiteX95" fmla="*/ 6858001 w 6858001"/>
                    <a:gd name="connsiteY95" fmla="*/ 734520 h 874716"/>
                    <a:gd name="connsiteX96" fmla="*/ 6815516 w 6858001"/>
                    <a:gd name="connsiteY96" fmla="*/ 744220 h 874716"/>
                    <a:gd name="connsiteX97" fmla="*/ 6748458 w 6858001"/>
                    <a:gd name="connsiteY97" fmla="*/ 763271 h 874716"/>
                    <a:gd name="connsiteX98" fmla="*/ 6584812 w 6858001"/>
                    <a:gd name="connsiteY98" fmla="*/ 784797 h 874716"/>
                    <a:gd name="connsiteX99" fmla="*/ 6415833 w 6858001"/>
                    <a:gd name="connsiteY99" fmla="*/ 805562 h 874716"/>
                    <a:gd name="connsiteX100" fmla="*/ 6323058 w 6858001"/>
                    <a:gd name="connsiteY100" fmla="*/ 812420 h 874716"/>
                    <a:gd name="connsiteX101" fmla="*/ 6242093 w 6858001"/>
                    <a:gd name="connsiteY101" fmla="*/ 823281 h 874716"/>
                    <a:gd name="connsiteX102" fmla="*/ 6171605 w 6858001"/>
                    <a:gd name="connsiteY102" fmla="*/ 830139 h 874716"/>
                    <a:gd name="connsiteX103" fmla="*/ 6059397 w 6858001"/>
                    <a:gd name="connsiteY103" fmla="*/ 844045 h 874716"/>
                    <a:gd name="connsiteX104" fmla="*/ 6012723 w 6858001"/>
                    <a:gd name="connsiteY104" fmla="*/ 847665 h 874716"/>
                    <a:gd name="connsiteX105" fmla="*/ 5902610 w 6858001"/>
                    <a:gd name="connsiteY105" fmla="*/ 847473 h 874716"/>
                    <a:gd name="connsiteX106" fmla="*/ 5864318 w 6858001"/>
                    <a:gd name="connsiteY106" fmla="*/ 845569 h 874716"/>
                    <a:gd name="connsiteX107" fmla="*/ 5790592 w 6858001"/>
                    <a:gd name="connsiteY107" fmla="*/ 821947 h 874716"/>
                    <a:gd name="connsiteX108" fmla="*/ 5781830 w 6858001"/>
                    <a:gd name="connsiteY108" fmla="*/ 820233 h 874716"/>
                    <a:gd name="connsiteX109" fmla="*/ 5733440 w 6858001"/>
                    <a:gd name="connsiteY109" fmla="*/ 810896 h 874716"/>
                    <a:gd name="connsiteX110" fmla="*/ 5706959 w 6858001"/>
                    <a:gd name="connsiteY110" fmla="*/ 807848 h 874716"/>
                    <a:gd name="connsiteX111" fmla="*/ 5606372 w 6858001"/>
                    <a:gd name="connsiteY111" fmla="*/ 788417 h 874716"/>
                    <a:gd name="connsiteX112" fmla="*/ 5548460 w 6858001"/>
                    <a:gd name="connsiteY112" fmla="*/ 779273 h 874716"/>
                    <a:gd name="connsiteX113" fmla="*/ 5501594 w 6858001"/>
                    <a:gd name="connsiteY113" fmla="*/ 780607 h 874716"/>
                    <a:gd name="connsiteX114" fmla="*/ 5419295 w 6858001"/>
                    <a:gd name="connsiteY114" fmla="*/ 782321 h 874716"/>
                    <a:gd name="connsiteX115" fmla="*/ 5393005 w 6858001"/>
                    <a:gd name="connsiteY115" fmla="*/ 786703 h 874716"/>
                    <a:gd name="connsiteX116" fmla="*/ 5274129 w 6858001"/>
                    <a:gd name="connsiteY116" fmla="*/ 774129 h 874716"/>
                    <a:gd name="connsiteX117" fmla="*/ 5206308 w 6858001"/>
                    <a:gd name="connsiteY117" fmla="*/ 773177 h 874716"/>
                    <a:gd name="connsiteX118" fmla="*/ 5129916 w 6858001"/>
                    <a:gd name="connsiteY118" fmla="*/ 757554 h 874716"/>
                    <a:gd name="connsiteX119" fmla="*/ 5107627 w 6858001"/>
                    <a:gd name="connsiteY119" fmla="*/ 758316 h 874716"/>
                    <a:gd name="connsiteX120" fmla="*/ 5082670 w 6858001"/>
                    <a:gd name="connsiteY120" fmla="*/ 759651 h 874716"/>
                    <a:gd name="connsiteX121" fmla="*/ 5006086 w 6858001"/>
                    <a:gd name="connsiteY121" fmla="*/ 760795 h 874716"/>
                    <a:gd name="connsiteX122" fmla="*/ 4959602 w 6858001"/>
                    <a:gd name="connsiteY122" fmla="*/ 766509 h 874716"/>
                    <a:gd name="connsiteX123" fmla="*/ 4871019 w 6858001"/>
                    <a:gd name="connsiteY123" fmla="*/ 763081 h 874716"/>
                    <a:gd name="connsiteX124" fmla="*/ 4838250 w 6858001"/>
                    <a:gd name="connsiteY124" fmla="*/ 768033 h 874716"/>
                    <a:gd name="connsiteX125" fmla="*/ 4755381 w 6858001"/>
                    <a:gd name="connsiteY125" fmla="*/ 768605 h 874716"/>
                    <a:gd name="connsiteX126" fmla="*/ 4681083 w 6858001"/>
                    <a:gd name="connsiteY126" fmla="*/ 765747 h 874716"/>
                    <a:gd name="connsiteX127" fmla="*/ 4609452 w 6858001"/>
                    <a:gd name="connsiteY127" fmla="*/ 767271 h 874716"/>
                    <a:gd name="connsiteX128" fmla="*/ 4558207 w 6858001"/>
                    <a:gd name="connsiteY128" fmla="*/ 773557 h 874716"/>
                    <a:gd name="connsiteX129" fmla="*/ 4502579 w 6858001"/>
                    <a:gd name="connsiteY129" fmla="*/ 777367 h 874716"/>
                    <a:gd name="connsiteX130" fmla="*/ 4349222 w 6858001"/>
                    <a:gd name="connsiteY130" fmla="*/ 800038 h 874716"/>
                    <a:gd name="connsiteX131" fmla="*/ 4320837 w 6858001"/>
                    <a:gd name="connsiteY131" fmla="*/ 794514 h 874716"/>
                    <a:gd name="connsiteX132" fmla="*/ 4159667 w 6858001"/>
                    <a:gd name="connsiteY132" fmla="*/ 789370 h 874716"/>
                    <a:gd name="connsiteX133" fmla="*/ 4124614 w 6858001"/>
                    <a:gd name="connsiteY133" fmla="*/ 789752 h 874716"/>
                    <a:gd name="connsiteX134" fmla="*/ 4030503 w 6858001"/>
                    <a:gd name="connsiteY134" fmla="*/ 767271 h 874716"/>
                    <a:gd name="connsiteX135" fmla="*/ 3885338 w 6858001"/>
                    <a:gd name="connsiteY135" fmla="*/ 802896 h 874716"/>
                    <a:gd name="connsiteX136" fmla="*/ 3749506 w 6858001"/>
                    <a:gd name="connsiteY136" fmla="*/ 847473 h 874716"/>
                    <a:gd name="connsiteX137" fmla="*/ 3732361 w 6858001"/>
                    <a:gd name="connsiteY137" fmla="*/ 853190 h 874716"/>
                    <a:gd name="connsiteX138" fmla="*/ 3683591 w 6858001"/>
                    <a:gd name="connsiteY138" fmla="*/ 862906 h 874716"/>
                    <a:gd name="connsiteX139" fmla="*/ 3623201 w 6858001"/>
                    <a:gd name="connsiteY139" fmla="*/ 866334 h 874716"/>
                    <a:gd name="connsiteX140" fmla="*/ 3546617 w 6858001"/>
                    <a:gd name="connsiteY140" fmla="*/ 874716 h 874716"/>
                    <a:gd name="connsiteX141" fmla="*/ 3485275 w 6858001"/>
                    <a:gd name="connsiteY141" fmla="*/ 864238 h 874716"/>
                    <a:gd name="connsiteX142" fmla="*/ 3399546 w 6858001"/>
                    <a:gd name="connsiteY142" fmla="*/ 848618 h 874716"/>
                    <a:gd name="connsiteX143" fmla="*/ 3318771 w 6858001"/>
                    <a:gd name="connsiteY143" fmla="*/ 833757 h 874716"/>
                    <a:gd name="connsiteX144" fmla="*/ 3293244 w 6858001"/>
                    <a:gd name="connsiteY144" fmla="*/ 851284 h 874716"/>
                    <a:gd name="connsiteX145" fmla="*/ 3253809 w 6858001"/>
                    <a:gd name="connsiteY145" fmla="*/ 866524 h 874716"/>
                    <a:gd name="connsiteX146" fmla="*/ 3209993 w 6858001"/>
                    <a:gd name="connsiteY146" fmla="*/ 848235 h 874716"/>
                    <a:gd name="connsiteX147" fmla="*/ 3107500 w 6858001"/>
                    <a:gd name="connsiteY147" fmla="*/ 810326 h 874716"/>
                    <a:gd name="connsiteX148" fmla="*/ 3042728 w 6858001"/>
                    <a:gd name="connsiteY148" fmla="*/ 808610 h 874716"/>
                    <a:gd name="connsiteX149" fmla="*/ 2901943 w 6858001"/>
                    <a:gd name="connsiteY149" fmla="*/ 792418 h 874716"/>
                    <a:gd name="connsiteX150" fmla="*/ 2809930 w 6858001"/>
                    <a:gd name="connsiteY150" fmla="*/ 769367 h 874716"/>
                    <a:gd name="connsiteX151" fmla="*/ 2743826 w 6858001"/>
                    <a:gd name="connsiteY151" fmla="*/ 743268 h 874716"/>
                    <a:gd name="connsiteX152" fmla="*/ 2649143 w 6858001"/>
                    <a:gd name="connsiteY152" fmla="*/ 709167 h 874716"/>
                    <a:gd name="connsiteX153" fmla="*/ 2554079 w 6858001"/>
                    <a:gd name="connsiteY153" fmla="*/ 691450 h 874716"/>
                    <a:gd name="connsiteX154" fmla="*/ 2485307 w 6858001"/>
                    <a:gd name="connsiteY154" fmla="*/ 669160 h 874716"/>
                    <a:gd name="connsiteX155" fmla="*/ 2401292 w 6858001"/>
                    <a:gd name="connsiteY155" fmla="*/ 653919 h 874716"/>
                    <a:gd name="connsiteX156" fmla="*/ 2330806 w 6858001"/>
                    <a:gd name="connsiteY156" fmla="*/ 653349 h 874716"/>
                    <a:gd name="connsiteX157" fmla="*/ 2220312 w 6858001"/>
                    <a:gd name="connsiteY157" fmla="*/ 656015 h 874716"/>
                    <a:gd name="connsiteX158" fmla="*/ 2085054 w 6858001"/>
                    <a:gd name="connsiteY158" fmla="*/ 609914 h 874716"/>
                    <a:gd name="connsiteX159" fmla="*/ 2030378 w 6858001"/>
                    <a:gd name="connsiteY159" fmla="*/ 599625 h 874716"/>
                    <a:gd name="connsiteX160" fmla="*/ 1978940 w 6858001"/>
                    <a:gd name="connsiteY160" fmla="*/ 594863 h 874716"/>
                    <a:gd name="connsiteX161" fmla="*/ 1869780 w 6858001"/>
                    <a:gd name="connsiteY161" fmla="*/ 564192 h 874716"/>
                    <a:gd name="connsiteX162" fmla="*/ 1825393 w 6858001"/>
                    <a:gd name="connsiteY162" fmla="*/ 554094 h 874716"/>
                    <a:gd name="connsiteX163" fmla="*/ 1763287 w 6858001"/>
                    <a:gd name="connsiteY163" fmla="*/ 554286 h 874716"/>
                    <a:gd name="connsiteX164" fmla="*/ 1650317 w 6858001"/>
                    <a:gd name="connsiteY164" fmla="*/ 540187 h 874716"/>
                    <a:gd name="connsiteX165" fmla="*/ 1537537 w 6858001"/>
                    <a:gd name="connsiteY165" fmla="*/ 499038 h 874716"/>
                    <a:gd name="connsiteX166" fmla="*/ 1489720 w 6858001"/>
                    <a:gd name="connsiteY166" fmla="*/ 503038 h 874716"/>
                    <a:gd name="connsiteX167" fmla="*/ 1472575 w 6858001"/>
                    <a:gd name="connsiteY167" fmla="*/ 502086 h 874716"/>
                    <a:gd name="connsiteX168" fmla="*/ 1318456 w 6858001"/>
                    <a:gd name="connsiteY168" fmla="*/ 479415 h 874716"/>
                    <a:gd name="connsiteX169" fmla="*/ 1303024 w 6858001"/>
                    <a:gd name="connsiteY169" fmla="*/ 476939 h 874716"/>
                    <a:gd name="connsiteX170" fmla="*/ 1230633 w 6858001"/>
                    <a:gd name="connsiteY170" fmla="*/ 456746 h 874716"/>
                    <a:gd name="connsiteX171" fmla="*/ 1048125 w 6858001"/>
                    <a:gd name="connsiteY171" fmla="*/ 444172 h 874716"/>
                    <a:gd name="connsiteX172" fmla="*/ 1036887 w 6858001"/>
                    <a:gd name="connsiteY172" fmla="*/ 442648 h 874716"/>
                    <a:gd name="connsiteX173" fmla="*/ 975733 w 6858001"/>
                    <a:gd name="connsiteY173" fmla="*/ 452744 h 874716"/>
                    <a:gd name="connsiteX174" fmla="*/ 945444 w 6858001"/>
                    <a:gd name="connsiteY174" fmla="*/ 467033 h 874716"/>
                    <a:gd name="connsiteX175" fmla="*/ 898198 w 6858001"/>
                    <a:gd name="connsiteY175" fmla="*/ 481893 h 874716"/>
                    <a:gd name="connsiteX176" fmla="*/ 850189 w 6858001"/>
                    <a:gd name="connsiteY176" fmla="*/ 487417 h 874716"/>
                    <a:gd name="connsiteX177" fmla="*/ 769605 w 6858001"/>
                    <a:gd name="connsiteY177" fmla="*/ 464937 h 874716"/>
                    <a:gd name="connsiteX178" fmla="*/ 740268 w 6858001"/>
                    <a:gd name="connsiteY178" fmla="*/ 462651 h 874716"/>
                    <a:gd name="connsiteX179" fmla="*/ 674923 w 6858001"/>
                    <a:gd name="connsiteY179" fmla="*/ 451792 h 874716"/>
                    <a:gd name="connsiteX180" fmla="*/ 617772 w 6858001"/>
                    <a:gd name="connsiteY180" fmla="*/ 452554 h 874716"/>
                    <a:gd name="connsiteX181" fmla="*/ 571860 w 6858001"/>
                    <a:gd name="connsiteY181" fmla="*/ 469891 h 874716"/>
                    <a:gd name="connsiteX182" fmla="*/ 505182 w 6858001"/>
                    <a:gd name="connsiteY182" fmla="*/ 473319 h 874716"/>
                    <a:gd name="connsiteX183" fmla="*/ 462126 w 6858001"/>
                    <a:gd name="connsiteY183" fmla="*/ 460747 h 874716"/>
                    <a:gd name="connsiteX184" fmla="*/ 453364 w 6858001"/>
                    <a:gd name="connsiteY184" fmla="*/ 459033 h 874716"/>
                    <a:gd name="connsiteX185" fmla="*/ 340774 w 6858001"/>
                    <a:gd name="connsiteY185" fmla="*/ 458268 h 874716"/>
                    <a:gd name="connsiteX186" fmla="*/ 200182 w 6858001"/>
                    <a:gd name="connsiteY186" fmla="*/ 496180 h 874716"/>
                    <a:gd name="connsiteX187" fmla="*/ 176939 w 6858001"/>
                    <a:gd name="connsiteY187" fmla="*/ 504182 h 874716"/>
                    <a:gd name="connsiteX188" fmla="*/ 63587 w 6858001"/>
                    <a:gd name="connsiteY188" fmla="*/ 518088 h 874716"/>
                    <a:gd name="connsiteX189" fmla="*/ 2817 w 6858001"/>
                    <a:gd name="connsiteY189" fmla="*/ 532187 h 874716"/>
                    <a:gd name="connsiteX190" fmla="*/ 0 w 6858001"/>
                    <a:gd name="connsiteY190" fmla="*/ 533314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6858001" h="874716">
                      <a:moveTo>
                        <a:pt x="0" y="533314"/>
                      </a:moveTo>
                      <a:lnTo>
                        <a:pt x="0" y="69206"/>
                      </a:lnTo>
                      <a:lnTo>
                        <a:pt x="21486" y="71924"/>
                      </a:lnTo>
                      <a:cubicBezTo>
                        <a:pt x="92546" y="60493"/>
                        <a:pt x="159604" y="87354"/>
                        <a:pt x="228948" y="88116"/>
                      </a:cubicBezTo>
                      <a:cubicBezTo>
                        <a:pt x="260382" y="88496"/>
                        <a:pt x="291435" y="94592"/>
                        <a:pt x="313533" y="62779"/>
                      </a:cubicBezTo>
                      <a:cubicBezTo>
                        <a:pt x="316389" y="58587"/>
                        <a:pt x="330298" y="60873"/>
                        <a:pt x="338870" y="62207"/>
                      </a:cubicBezTo>
                      <a:cubicBezTo>
                        <a:pt x="357921" y="65066"/>
                        <a:pt x="376781" y="72304"/>
                        <a:pt x="395640" y="72114"/>
                      </a:cubicBezTo>
                      <a:cubicBezTo>
                        <a:pt x="434695" y="71924"/>
                        <a:pt x="473939" y="68876"/>
                        <a:pt x="512802" y="65446"/>
                      </a:cubicBezTo>
                      <a:cubicBezTo>
                        <a:pt x="527470" y="64112"/>
                        <a:pt x="541569" y="58969"/>
                        <a:pt x="556047" y="55349"/>
                      </a:cubicBezTo>
                      <a:cubicBezTo>
                        <a:pt x="564048" y="53253"/>
                        <a:pt x="572622" y="47729"/>
                        <a:pt x="580050" y="48871"/>
                      </a:cubicBezTo>
                      <a:cubicBezTo>
                        <a:pt x="623106" y="55539"/>
                        <a:pt x="662541" y="39157"/>
                        <a:pt x="703308" y="30964"/>
                      </a:cubicBezTo>
                      <a:cubicBezTo>
                        <a:pt x="722169" y="27154"/>
                        <a:pt x="739886" y="18010"/>
                        <a:pt x="758174" y="11724"/>
                      </a:cubicBezTo>
                      <a:cubicBezTo>
                        <a:pt x="762936" y="10008"/>
                        <a:pt x="768271" y="8484"/>
                        <a:pt x="773035" y="8866"/>
                      </a:cubicBezTo>
                      <a:cubicBezTo>
                        <a:pt x="800276" y="11152"/>
                        <a:pt x="827329" y="14390"/>
                        <a:pt x="854379" y="16866"/>
                      </a:cubicBezTo>
                      <a:cubicBezTo>
                        <a:pt x="878956" y="19152"/>
                        <a:pt x="903722" y="19914"/>
                        <a:pt x="915343" y="47919"/>
                      </a:cubicBezTo>
                      <a:cubicBezTo>
                        <a:pt x="917059" y="52301"/>
                        <a:pt x="922773" y="55539"/>
                        <a:pt x="927155" y="58397"/>
                      </a:cubicBezTo>
                      <a:cubicBezTo>
                        <a:pt x="994785" y="102405"/>
                        <a:pt x="1030980" y="101261"/>
                        <a:pt x="1097087" y="54777"/>
                      </a:cubicBezTo>
                      <a:cubicBezTo>
                        <a:pt x="1103945" y="50015"/>
                        <a:pt x="1118613" y="46585"/>
                        <a:pt x="1123185" y="50395"/>
                      </a:cubicBezTo>
                      <a:cubicBezTo>
                        <a:pt x="1162049" y="82020"/>
                        <a:pt x="1204532" y="78590"/>
                        <a:pt x="1249302" y="68684"/>
                      </a:cubicBezTo>
                      <a:cubicBezTo>
                        <a:pt x="1260922" y="66018"/>
                        <a:pt x="1277307" y="66018"/>
                        <a:pt x="1286069" y="72304"/>
                      </a:cubicBezTo>
                      <a:cubicBezTo>
                        <a:pt x="1327790" y="101451"/>
                        <a:pt x="1372560" y="97261"/>
                        <a:pt x="1417899" y="88688"/>
                      </a:cubicBezTo>
                      <a:cubicBezTo>
                        <a:pt x="1424948" y="87354"/>
                        <a:pt x="1433522" y="80114"/>
                        <a:pt x="1436568" y="73448"/>
                      </a:cubicBezTo>
                      <a:cubicBezTo>
                        <a:pt x="1447428" y="49825"/>
                        <a:pt x="1467813" y="41823"/>
                        <a:pt x="1490292" y="35154"/>
                      </a:cubicBezTo>
                      <a:cubicBezTo>
                        <a:pt x="1525727" y="24296"/>
                        <a:pt x="1560588" y="11532"/>
                        <a:pt x="1596213" y="1245"/>
                      </a:cubicBezTo>
                      <a:cubicBezTo>
                        <a:pt x="1604978" y="-1231"/>
                        <a:pt x="1615836" y="293"/>
                        <a:pt x="1624980" y="3150"/>
                      </a:cubicBezTo>
                      <a:cubicBezTo>
                        <a:pt x="1656223" y="12866"/>
                        <a:pt x="1676036" y="37251"/>
                        <a:pt x="1697753" y="59731"/>
                      </a:cubicBezTo>
                      <a:cubicBezTo>
                        <a:pt x="1707279" y="69638"/>
                        <a:pt x="1720423" y="76686"/>
                        <a:pt x="1733188" y="82400"/>
                      </a:cubicBezTo>
                      <a:cubicBezTo>
                        <a:pt x="1766335" y="97071"/>
                        <a:pt x="1800246" y="110215"/>
                        <a:pt x="1833775" y="124121"/>
                      </a:cubicBezTo>
                      <a:cubicBezTo>
                        <a:pt x="1837013" y="125455"/>
                        <a:pt x="1839679" y="128884"/>
                        <a:pt x="1842158" y="131742"/>
                      </a:cubicBezTo>
                      <a:cubicBezTo>
                        <a:pt x="1866922" y="161843"/>
                        <a:pt x="1891497" y="192132"/>
                        <a:pt x="1916454" y="222233"/>
                      </a:cubicBezTo>
                      <a:cubicBezTo>
                        <a:pt x="1921216" y="227947"/>
                        <a:pt x="1928076" y="232139"/>
                        <a:pt x="1933219" y="237663"/>
                      </a:cubicBezTo>
                      <a:cubicBezTo>
                        <a:pt x="1940459" y="245283"/>
                        <a:pt x="1949603" y="252524"/>
                        <a:pt x="1953413" y="261668"/>
                      </a:cubicBezTo>
                      <a:cubicBezTo>
                        <a:pt x="1965224" y="290433"/>
                        <a:pt x="1987894" y="302817"/>
                        <a:pt x="2016469" y="308151"/>
                      </a:cubicBezTo>
                      <a:cubicBezTo>
                        <a:pt x="2042570" y="313104"/>
                        <a:pt x="2068669" y="317296"/>
                        <a:pt x="2094578" y="323010"/>
                      </a:cubicBezTo>
                      <a:cubicBezTo>
                        <a:pt x="2126201" y="329868"/>
                        <a:pt x="2157636" y="337298"/>
                        <a:pt x="2188879" y="345681"/>
                      </a:cubicBezTo>
                      <a:cubicBezTo>
                        <a:pt x="2202404" y="349301"/>
                        <a:pt x="2216692" y="353491"/>
                        <a:pt x="2228314" y="360921"/>
                      </a:cubicBezTo>
                      <a:cubicBezTo>
                        <a:pt x="2260890" y="381496"/>
                        <a:pt x="2295753" y="395402"/>
                        <a:pt x="2334044" y="389878"/>
                      </a:cubicBezTo>
                      <a:cubicBezTo>
                        <a:pt x="2364715" y="385496"/>
                        <a:pt x="2390434" y="396736"/>
                        <a:pt x="2409485" y="414263"/>
                      </a:cubicBezTo>
                      <a:cubicBezTo>
                        <a:pt x="2444158" y="446078"/>
                        <a:pt x="2481305" y="438838"/>
                        <a:pt x="2518264" y="428552"/>
                      </a:cubicBezTo>
                      <a:cubicBezTo>
                        <a:pt x="2537315" y="423217"/>
                        <a:pt x="2552935" y="423979"/>
                        <a:pt x="2571034" y="429122"/>
                      </a:cubicBezTo>
                      <a:cubicBezTo>
                        <a:pt x="2612945" y="441124"/>
                        <a:pt x="2640950" y="473701"/>
                        <a:pt x="2668001" y="502276"/>
                      </a:cubicBezTo>
                      <a:cubicBezTo>
                        <a:pt x="2691054" y="526661"/>
                        <a:pt x="2716963" y="540377"/>
                        <a:pt x="2745348" y="550666"/>
                      </a:cubicBezTo>
                      <a:cubicBezTo>
                        <a:pt x="2781163" y="563810"/>
                        <a:pt x="2809548" y="558858"/>
                        <a:pt x="2826694" y="527233"/>
                      </a:cubicBezTo>
                      <a:cubicBezTo>
                        <a:pt x="2831457" y="518278"/>
                        <a:pt x="2839839" y="507800"/>
                        <a:pt x="2848793" y="505134"/>
                      </a:cubicBezTo>
                      <a:cubicBezTo>
                        <a:pt x="2892037" y="491800"/>
                        <a:pt x="2935854" y="472367"/>
                        <a:pt x="2982148" y="484179"/>
                      </a:cubicBezTo>
                      <a:cubicBezTo>
                        <a:pt x="3046158" y="500372"/>
                        <a:pt x="3108644" y="499420"/>
                        <a:pt x="3172654" y="483417"/>
                      </a:cubicBezTo>
                      <a:cubicBezTo>
                        <a:pt x="3276480" y="457508"/>
                        <a:pt x="3380305" y="430076"/>
                        <a:pt x="3489467" y="435790"/>
                      </a:cubicBezTo>
                      <a:cubicBezTo>
                        <a:pt x="3507563" y="436742"/>
                        <a:pt x="3529090" y="425121"/>
                        <a:pt x="3544713" y="413691"/>
                      </a:cubicBezTo>
                      <a:cubicBezTo>
                        <a:pt x="3574622" y="391974"/>
                        <a:pt x="3573288" y="390258"/>
                        <a:pt x="3606817" y="408167"/>
                      </a:cubicBezTo>
                      <a:cubicBezTo>
                        <a:pt x="3614819" y="412549"/>
                        <a:pt x="3624725" y="415215"/>
                        <a:pt x="3630632" y="421693"/>
                      </a:cubicBezTo>
                      <a:cubicBezTo>
                        <a:pt x="3660731" y="454650"/>
                        <a:pt x="3697880" y="446648"/>
                        <a:pt x="3734837" y="441886"/>
                      </a:cubicBezTo>
                      <a:cubicBezTo>
                        <a:pt x="3741315" y="440934"/>
                        <a:pt x="3749125" y="439600"/>
                        <a:pt x="3754652" y="442268"/>
                      </a:cubicBezTo>
                      <a:cubicBezTo>
                        <a:pt x="3779607" y="454268"/>
                        <a:pt x="3800753" y="450078"/>
                        <a:pt x="3822472" y="433694"/>
                      </a:cubicBezTo>
                      <a:cubicBezTo>
                        <a:pt x="3841331" y="419597"/>
                        <a:pt x="3863049" y="411215"/>
                        <a:pt x="3885338" y="428742"/>
                      </a:cubicBezTo>
                      <a:cubicBezTo>
                        <a:pt x="3934870" y="467605"/>
                        <a:pt x="3987829" y="469509"/>
                        <a:pt x="4043839" y="444934"/>
                      </a:cubicBezTo>
                      <a:cubicBezTo>
                        <a:pt x="4083845" y="427407"/>
                        <a:pt x="4123280" y="423407"/>
                        <a:pt x="4165383" y="441124"/>
                      </a:cubicBezTo>
                      <a:cubicBezTo>
                        <a:pt x="4181576" y="447982"/>
                        <a:pt x="4202531" y="443410"/>
                        <a:pt x="4221391" y="444934"/>
                      </a:cubicBezTo>
                      <a:cubicBezTo>
                        <a:pt x="4232060" y="445696"/>
                        <a:pt x="4243872" y="445886"/>
                        <a:pt x="4253014" y="450650"/>
                      </a:cubicBezTo>
                      <a:cubicBezTo>
                        <a:pt x="4277401" y="462843"/>
                        <a:pt x="4300070" y="478463"/>
                        <a:pt x="4324645" y="490466"/>
                      </a:cubicBezTo>
                      <a:cubicBezTo>
                        <a:pt x="4336457" y="496180"/>
                        <a:pt x="4350554" y="499228"/>
                        <a:pt x="4363890" y="499420"/>
                      </a:cubicBezTo>
                      <a:cubicBezTo>
                        <a:pt x="4403325" y="500372"/>
                        <a:pt x="4442761" y="500372"/>
                        <a:pt x="4482004" y="498658"/>
                      </a:cubicBezTo>
                      <a:cubicBezTo>
                        <a:pt x="4546776" y="495990"/>
                        <a:pt x="4612500" y="495418"/>
                        <a:pt x="4659174" y="438648"/>
                      </a:cubicBezTo>
                      <a:cubicBezTo>
                        <a:pt x="4662986" y="434076"/>
                        <a:pt x="4671176" y="431408"/>
                        <a:pt x="4677655" y="430646"/>
                      </a:cubicBezTo>
                      <a:cubicBezTo>
                        <a:pt x="4707564" y="427027"/>
                        <a:pt x="4738235" y="426645"/>
                        <a:pt x="4767764" y="420739"/>
                      </a:cubicBezTo>
                      <a:cubicBezTo>
                        <a:pt x="4791386" y="415977"/>
                        <a:pt x="4811009" y="417501"/>
                        <a:pt x="4828916" y="434266"/>
                      </a:cubicBezTo>
                      <a:cubicBezTo>
                        <a:pt x="4852348" y="456364"/>
                        <a:pt x="4880925" y="469319"/>
                        <a:pt x="4912168" y="462271"/>
                      </a:cubicBezTo>
                      <a:cubicBezTo>
                        <a:pt x="4943409" y="455412"/>
                        <a:pt x="4963984" y="470271"/>
                        <a:pt x="4987037" y="485703"/>
                      </a:cubicBezTo>
                      <a:cubicBezTo>
                        <a:pt x="5003801" y="496942"/>
                        <a:pt x="5022852" y="511040"/>
                        <a:pt x="5041521" y="512182"/>
                      </a:cubicBezTo>
                      <a:cubicBezTo>
                        <a:pt x="5083814" y="514658"/>
                        <a:pt x="5120201" y="553904"/>
                        <a:pt x="5166113" y="531615"/>
                      </a:cubicBezTo>
                      <a:cubicBezTo>
                        <a:pt x="5169161" y="530091"/>
                        <a:pt x="5174685" y="533901"/>
                        <a:pt x="5179067" y="534853"/>
                      </a:cubicBezTo>
                      <a:cubicBezTo>
                        <a:pt x="5214121" y="542093"/>
                        <a:pt x="5247078" y="535043"/>
                        <a:pt x="5272796" y="511230"/>
                      </a:cubicBezTo>
                      <a:cubicBezTo>
                        <a:pt x="5306516" y="480177"/>
                        <a:pt x="5343855" y="477129"/>
                        <a:pt x="5385384" y="487227"/>
                      </a:cubicBezTo>
                      <a:cubicBezTo>
                        <a:pt x="5398721" y="490466"/>
                        <a:pt x="5412057" y="492752"/>
                        <a:pt x="5425582" y="495418"/>
                      </a:cubicBezTo>
                      <a:cubicBezTo>
                        <a:pt x="5443870" y="499228"/>
                        <a:pt x="5462351" y="503230"/>
                        <a:pt x="5480637" y="507040"/>
                      </a:cubicBezTo>
                      <a:cubicBezTo>
                        <a:pt x="5498356" y="510850"/>
                        <a:pt x="5517979" y="517326"/>
                        <a:pt x="5531693" y="500944"/>
                      </a:cubicBezTo>
                      <a:cubicBezTo>
                        <a:pt x="5543506" y="486845"/>
                        <a:pt x="5551888" y="488179"/>
                        <a:pt x="5562746" y="500372"/>
                      </a:cubicBezTo>
                      <a:cubicBezTo>
                        <a:pt x="5600467" y="543045"/>
                        <a:pt x="5646189" y="569716"/>
                        <a:pt x="5704483" y="571620"/>
                      </a:cubicBezTo>
                      <a:cubicBezTo>
                        <a:pt x="5716485" y="572002"/>
                        <a:pt x="5728678" y="574668"/>
                        <a:pt x="5740488" y="577526"/>
                      </a:cubicBezTo>
                      <a:cubicBezTo>
                        <a:pt x="5747728" y="579241"/>
                        <a:pt x="5756493" y="581147"/>
                        <a:pt x="5760873" y="586291"/>
                      </a:cubicBezTo>
                      <a:cubicBezTo>
                        <a:pt x="5794974" y="625534"/>
                        <a:pt x="5837457" y="652777"/>
                        <a:pt x="5883751" y="674686"/>
                      </a:cubicBezTo>
                      <a:cubicBezTo>
                        <a:pt x="5900323" y="682496"/>
                        <a:pt x="5918042" y="690306"/>
                        <a:pt x="5935949" y="692592"/>
                      </a:cubicBezTo>
                      <a:cubicBezTo>
                        <a:pt x="5954617" y="694878"/>
                        <a:pt x="5974240" y="691068"/>
                        <a:pt x="5993291" y="688972"/>
                      </a:cubicBezTo>
                      <a:cubicBezTo>
                        <a:pt x="6004531" y="687830"/>
                        <a:pt x="6017485" y="688020"/>
                        <a:pt x="6026440" y="682496"/>
                      </a:cubicBezTo>
                      <a:cubicBezTo>
                        <a:pt x="6054825" y="665159"/>
                        <a:pt x="6082258" y="646491"/>
                        <a:pt x="6108738" y="626296"/>
                      </a:cubicBezTo>
                      <a:cubicBezTo>
                        <a:pt x="6131409" y="608960"/>
                        <a:pt x="6135981" y="606483"/>
                        <a:pt x="6155602" y="628202"/>
                      </a:cubicBezTo>
                      <a:cubicBezTo>
                        <a:pt x="6175797" y="650491"/>
                        <a:pt x="6200944" y="662111"/>
                        <a:pt x="6228756" y="666873"/>
                      </a:cubicBezTo>
                      <a:cubicBezTo>
                        <a:pt x="6272764" y="674304"/>
                        <a:pt x="6317151" y="680590"/>
                        <a:pt x="6361539" y="684210"/>
                      </a:cubicBezTo>
                      <a:cubicBezTo>
                        <a:pt x="6401736" y="687448"/>
                        <a:pt x="6420977" y="669922"/>
                        <a:pt x="6428979" y="630106"/>
                      </a:cubicBezTo>
                      <a:cubicBezTo>
                        <a:pt x="6433551" y="608007"/>
                        <a:pt x="6439458" y="584003"/>
                        <a:pt x="6463840" y="578098"/>
                      </a:cubicBezTo>
                      <a:cubicBezTo>
                        <a:pt x="6503658" y="568572"/>
                        <a:pt x="6544997" y="564382"/>
                        <a:pt x="6564620" y="517708"/>
                      </a:cubicBezTo>
                      <a:cubicBezTo>
                        <a:pt x="6575478" y="527995"/>
                        <a:pt x="6582146" y="534091"/>
                        <a:pt x="6588625" y="540187"/>
                      </a:cubicBezTo>
                      <a:cubicBezTo>
                        <a:pt x="6606531" y="557142"/>
                        <a:pt x="6643678" y="564382"/>
                        <a:pt x="6662541" y="549714"/>
                      </a:cubicBezTo>
                      <a:cubicBezTo>
                        <a:pt x="6690354" y="528377"/>
                        <a:pt x="6715883" y="532377"/>
                        <a:pt x="6742552" y="548952"/>
                      </a:cubicBezTo>
                      <a:cubicBezTo>
                        <a:pt x="6764841" y="562668"/>
                        <a:pt x="6788417" y="567954"/>
                        <a:pt x="6812063" y="568430"/>
                      </a:cubicBezTo>
                      <a:lnTo>
                        <a:pt x="6858001" y="562267"/>
                      </a:lnTo>
                      <a:lnTo>
                        <a:pt x="6858001" y="734520"/>
                      </a:lnTo>
                      <a:lnTo>
                        <a:pt x="6815516" y="744220"/>
                      </a:lnTo>
                      <a:cubicBezTo>
                        <a:pt x="6793035" y="749744"/>
                        <a:pt x="6771319" y="759651"/>
                        <a:pt x="6748458" y="763271"/>
                      </a:cubicBezTo>
                      <a:cubicBezTo>
                        <a:pt x="6694164" y="771843"/>
                        <a:pt x="6639488" y="777939"/>
                        <a:pt x="6584812" y="784797"/>
                      </a:cubicBezTo>
                      <a:cubicBezTo>
                        <a:pt x="6528424" y="791846"/>
                        <a:pt x="6472225" y="799276"/>
                        <a:pt x="6415833" y="805562"/>
                      </a:cubicBezTo>
                      <a:cubicBezTo>
                        <a:pt x="6384972" y="808802"/>
                        <a:pt x="6353919" y="809372"/>
                        <a:pt x="6323058" y="812420"/>
                      </a:cubicBezTo>
                      <a:cubicBezTo>
                        <a:pt x="6296005" y="815088"/>
                        <a:pt x="6269144" y="820041"/>
                        <a:pt x="6242093" y="823281"/>
                      </a:cubicBezTo>
                      <a:cubicBezTo>
                        <a:pt x="6218660" y="825947"/>
                        <a:pt x="6195037" y="827471"/>
                        <a:pt x="6171605" y="830139"/>
                      </a:cubicBezTo>
                      <a:cubicBezTo>
                        <a:pt x="6134075" y="834519"/>
                        <a:pt x="6096736" y="839473"/>
                        <a:pt x="6059397" y="844045"/>
                      </a:cubicBezTo>
                      <a:cubicBezTo>
                        <a:pt x="6043776" y="845759"/>
                        <a:pt x="6027392" y="850522"/>
                        <a:pt x="6012723" y="847665"/>
                      </a:cubicBezTo>
                      <a:cubicBezTo>
                        <a:pt x="5975764" y="840425"/>
                        <a:pt x="5939377" y="842521"/>
                        <a:pt x="5902610" y="847473"/>
                      </a:cubicBezTo>
                      <a:cubicBezTo>
                        <a:pt x="5890037" y="849190"/>
                        <a:pt x="5876511" y="848808"/>
                        <a:pt x="5864318" y="845569"/>
                      </a:cubicBezTo>
                      <a:cubicBezTo>
                        <a:pt x="5839361" y="839091"/>
                        <a:pt x="5815169" y="829947"/>
                        <a:pt x="5790592" y="821947"/>
                      </a:cubicBezTo>
                      <a:cubicBezTo>
                        <a:pt x="5787924" y="820995"/>
                        <a:pt x="5784686" y="820803"/>
                        <a:pt x="5781830" y="820233"/>
                      </a:cubicBezTo>
                      <a:cubicBezTo>
                        <a:pt x="5765635" y="816992"/>
                        <a:pt x="5749634" y="813754"/>
                        <a:pt x="5733440" y="810896"/>
                      </a:cubicBezTo>
                      <a:cubicBezTo>
                        <a:pt x="5724678" y="809372"/>
                        <a:pt x="5715723" y="809182"/>
                        <a:pt x="5706959" y="807848"/>
                      </a:cubicBezTo>
                      <a:cubicBezTo>
                        <a:pt x="5673050" y="802514"/>
                        <a:pt x="5635711" y="811468"/>
                        <a:pt x="5606372" y="788417"/>
                      </a:cubicBezTo>
                      <a:cubicBezTo>
                        <a:pt x="5587321" y="773557"/>
                        <a:pt x="5568842" y="776987"/>
                        <a:pt x="5548460" y="779273"/>
                      </a:cubicBezTo>
                      <a:cubicBezTo>
                        <a:pt x="5533027" y="780987"/>
                        <a:pt x="5517215" y="780415"/>
                        <a:pt x="5501594" y="780607"/>
                      </a:cubicBezTo>
                      <a:cubicBezTo>
                        <a:pt x="5474161" y="781177"/>
                        <a:pt x="5446728" y="781369"/>
                        <a:pt x="5419295" y="782321"/>
                      </a:cubicBezTo>
                      <a:cubicBezTo>
                        <a:pt x="5410531" y="782701"/>
                        <a:pt x="5401579" y="787465"/>
                        <a:pt x="5393005" y="786703"/>
                      </a:cubicBezTo>
                      <a:cubicBezTo>
                        <a:pt x="5353379" y="783083"/>
                        <a:pt x="5313754" y="777367"/>
                        <a:pt x="5274129" y="774129"/>
                      </a:cubicBezTo>
                      <a:cubicBezTo>
                        <a:pt x="5251650" y="772225"/>
                        <a:pt x="5228597" y="775843"/>
                        <a:pt x="5206308" y="773177"/>
                      </a:cubicBezTo>
                      <a:cubicBezTo>
                        <a:pt x="5180591" y="770129"/>
                        <a:pt x="5155445" y="762319"/>
                        <a:pt x="5129916" y="757554"/>
                      </a:cubicBezTo>
                      <a:cubicBezTo>
                        <a:pt x="5122867" y="756222"/>
                        <a:pt x="5115057" y="757936"/>
                        <a:pt x="5107627" y="758316"/>
                      </a:cubicBezTo>
                      <a:cubicBezTo>
                        <a:pt x="5099245" y="758699"/>
                        <a:pt x="5091052" y="759461"/>
                        <a:pt x="5082670" y="759651"/>
                      </a:cubicBezTo>
                      <a:cubicBezTo>
                        <a:pt x="5057141" y="760033"/>
                        <a:pt x="5031614" y="759461"/>
                        <a:pt x="5006086" y="760795"/>
                      </a:cubicBezTo>
                      <a:cubicBezTo>
                        <a:pt x="4990465" y="761557"/>
                        <a:pt x="4974082" y="769367"/>
                        <a:pt x="4959602" y="766509"/>
                      </a:cubicBezTo>
                      <a:cubicBezTo>
                        <a:pt x="4930075" y="760985"/>
                        <a:pt x="4900546" y="773367"/>
                        <a:pt x="4871019" y="763081"/>
                      </a:cubicBezTo>
                      <a:cubicBezTo>
                        <a:pt x="4861873" y="760033"/>
                        <a:pt x="4849300" y="767653"/>
                        <a:pt x="4838250" y="768033"/>
                      </a:cubicBezTo>
                      <a:cubicBezTo>
                        <a:pt x="4810627" y="768985"/>
                        <a:pt x="4783004" y="768795"/>
                        <a:pt x="4755381" y="768605"/>
                      </a:cubicBezTo>
                      <a:cubicBezTo>
                        <a:pt x="4730614" y="768415"/>
                        <a:pt x="4704895" y="771081"/>
                        <a:pt x="4681083" y="765747"/>
                      </a:cubicBezTo>
                      <a:cubicBezTo>
                        <a:pt x="4656126" y="760033"/>
                        <a:pt x="4633647" y="760795"/>
                        <a:pt x="4609452" y="767271"/>
                      </a:cubicBezTo>
                      <a:cubicBezTo>
                        <a:pt x="4592878" y="771653"/>
                        <a:pt x="4575351" y="772225"/>
                        <a:pt x="4558207" y="773557"/>
                      </a:cubicBezTo>
                      <a:cubicBezTo>
                        <a:pt x="4539728" y="775081"/>
                        <a:pt x="4519343" y="771081"/>
                        <a:pt x="4502579" y="777367"/>
                      </a:cubicBezTo>
                      <a:cubicBezTo>
                        <a:pt x="4452665" y="796038"/>
                        <a:pt x="4401419" y="800038"/>
                        <a:pt x="4349222" y="800038"/>
                      </a:cubicBezTo>
                      <a:cubicBezTo>
                        <a:pt x="4339695" y="800038"/>
                        <a:pt x="4329979" y="797372"/>
                        <a:pt x="4320837" y="794514"/>
                      </a:cubicBezTo>
                      <a:cubicBezTo>
                        <a:pt x="4267493" y="777367"/>
                        <a:pt x="4213961" y="778891"/>
                        <a:pt x="4159667" y="789370"/>
                      </a:cubicBezTo>
                      <a:cubicBezTo>
                        <a:pt x="4148427" y="791656"/>
                        <a:pt x="4135854" y="792038"/>
                        <a:pt x="4124614" y="789752"/>
                      </a:cubicBezTo>
                      <a:cubicBezTo>
                        <a:pt x="4092989" y="783083"/>
                        <a:pt x="4062318" y="772033"/>
                        <a:pt x="4030503" y="767271"/>
                      </a:cubicBezTo>
                      <a:cubicBezTo>
                        <a:pt x="3977925" y="759461"/>
                        <a:pt x="3932394" y="785749"/>
                        <a:pt x="3885338" y="802896"/>
                      </a:cubicBezTo>
                      <a:cubicBezTo>
                        <a:pt x="3840569" y="819089"/>
                        <a:pt x="3802467" y="855666"/>
                        <a:pt x="3749506" y="847473"/>
                      </a:cubicBezTo>
                      <a:cubicBezTo>
                        <a:pt x="3744173" y="846711"/>
                        <a:pt x="3738267" y="851856"/>
                        <a:pt x="3732361" y="853190"/>
                      </a:cubicBezTo>
                      <a:cubicBezTo>
                        <a:pt x="3716168" y="856810"/>
                        <a:pt x="3699976" y="861190"/>
                        <a:pt x="3683591" y="862906"/>
                      </a:cubicBezTo>
                      <a:cubicBezTo>
                        <a:pt x="3663589" y="865192"/>
                        <a:pt x="3643204" y="864430"/>
                        <a:pt x="3623201" y="866334"/>
                      </a:cubicBezTo>
                      <a:cubicBezTo>
                        <a:pt x="3597482" y="868620"/>
                        <a:pt x="3572146" y="874716"/>
                        <a:pt x="3546617" y="874716"/>
                      </a:cubicBezTo>
                      <a:cubicBezTo>
                        <a:pt x="3526042" y="874716"/>
                        <a:pt x="3505657" y="867668"/>
                        <a:pt x="3485275" y="864238"/>
                      </a:cubicBezTo>
                      <a:cubicBezTo>
                        <a:pt x="3456508" y="859476"/>
                        <a:pt x="3424883" y="860810"/>
                        <a:pt x="3399546" y="848618"/>
                      </a:cubicBezTo>
                      <a:cubicBezTo>
                        <a:pt x="3372495" y="835663"/>
                        <a:pt x="3346776" y="829757"/>
                        <a:pt x="3318771" y="833757"/>
                      </a:cubicBezTo>
                      <a:cubicBezTo>
                        <a:pt x="3309437" y="835091"/>
                        <a:pt x="3297434" y="843093"/>
                        <a:pt x="3293244" y="851284"/>
                      </a:cubicBezTo>
                      <a:cubicBezTo>
                        <a:pt x="3283908" y="869572"/>
                        <a:pt x="3271145" y="872812"/>
                        <a:pt x="3253809" y="866524"/>
                      </a:cubicBezTo>
                      <a:cubicBezTo>
                        <a:pt x="3238758" y="861190"/>
                        <a:pt x="3220280" y="858524"/>
                        <a:pt x="3209993" y="848235"/>
                      </a:cubicBezTo>
                      <a:cubicBezTo>
                        <a:pt x="3180844" y="819089"/>
                        <a:pt x="3143695" y="818136"/>
                        <a:pt x="3107500" y="810326"/>
                      </a:cubicBezTo>
                      <a:cubicBezTo>
                        <a:pt x="3085403" y="805562"/>
                        <a:pt x="3064827" y="805372"/>
                        <a:pt x="3042728" y="808610"/>
                      </a:cubicBezTo>
                      <a:cubicBezTo>
                        <a:pt x="2994722" y="815850"/>
                        <a:pt x="2948047" y="805562"/>
                        <a:pt x="2901943" y="792418"/>
                      </a:cubicBezTo>
                      <a:cubicBezTo>
                        <a:pt x="2871462" y="783655"/>
                        <a:pt x="2840219" y="778321"/>
                        <a:pt x="2809930" y="769367"/>
                      </a:cubicBezTo>
                      <a:cubicBezTo>
                        <a:pt x="2787259" y="762509"/>
                        <a:pt x="2764590" y="754316"/>
                        <a:pt x="2743826" y="743268"/>
                      </a:cubicBezTo>
                      <a:cubicBezTo>
                        <a:pt x="2713723" y="727073"/>
                        <a:pt x="2687436" y="702689"/>
                        <a:pt x="2649143" y="709167"/>
                      </a:cubicBezTo>
                      <a:cubicBezTo>
                        <a:pt x="2615421" y="714881"/>
                        <a:pt x="2584942" y="702881"/>
                        <a:pt x="2554079" y="691450"/>
                      </a:cubicBezTo>
                      <a:cubicBezTo>
                        <a:pt x="2531409" y="683068"/>
                        <a:pt x="2508742" y="674494"/>
                        <a:pt x="2485307" y="669160"/>
                      </a:cubicBezTo>
                      <a:cubicBezTo>
                        <a:pt x="2457492" y="662873"/>
                        <a:pt x="2426059" y="665541"/>
                        <a:pt x="2401292" y="653919"/>
                      </a:cubicBezTo>
                      <a:cubicBezTo>
                        <a:pt x="2375383" y="641727"/>
                        <a:pt x="2353859" y="649919"/>
                        <a:pt x="2330806" y="653349"/>
                      </a:cubicBezTo>
                      <a:cubicBezTo>
                        <a:pt x="2294039" y="658683"/>
                        <a:pt x="2257459" y="668590"/>
                        <a:pt x="2220312" y="656015"/>
                      </a:cubicBezTo>
                      <a:cubicBezTo>
                        <a:pt x="2175163" y="640775"/>
                        <a:pt x="2130393" y="624392"/>
                        <a:pt x="2085054" y="609914"/>
                      </a:cubicBezTo>
                      <a:cubicBezTo>
                        <a:pt x="2067525" y="604387"/>
                        <a:pt x="2048668" y="602101"/>
                        <a:pt x="2030378" y="599625"/>
                      </a:cubicBezTo>
                      <a:cubicBezTo>
                        <a:pt x="2013043" y="597529"/>
                        <a:pt x="1992279" y="602863"/>
                        <a:pt x="1978940" y="594863"/>
                      </a:cubicBezTo>
                      <a:cubicBezTo>
                        <a:pt x="1944649" y="574288"/>
                        <a:pt x="1909408" y="564192"/>
                        <a:pt x="1869780" y="564192"/>
                      </a:cubicBezTo>
                      <a:cubicBezTo>
                        <a:pt x="1854920" y="564192"/>
                        <a:pt x="1840441" y="555618"/>
                        <a:pt x="1825393" y="554094"/>
                      </a:cubicBezTo>
                      <a:cubicBezTo>
                        <a:pt x="1804816" y="552190"/>
                        <a:pt x="1781194" y="547045"/>
                        <a:pt x="1763287" y="554286"/>
                      </a:cubicBezTo>
                      <a:cubicBezTo>
                        <a:pt x="1721185" y="571430"/>
                        <a:pt x="1687086" y="557142"/>
                        <a:pt x="1650317" y="540187"/>
                      </a:cubicBezTo>
                      <a:cubicBezTo>
                        <a:pt x="1614120" y="523423"/>
                        <a:pt x="1576019" y="510088"/>
                        <a:pt x="1537537" y="499038"/>
                      </a:cubicBezTo>
                      <a:cubicBezTo>
                        <a:pt x="1523059" y="495038"/>
                        <a:pt x="1505724" y="501706"/>
                        <a:pt x="1489720" y="503038"/>
                      </a:cubicBezTo>
                      <a:cubicBezTo>
                        <a:pt x="1484004" y="503420"/>
                        <a:pt x="1477717" y="503992"/>
                        <a:pt x="1472575" y="502086"/>
                      </a:cubicBezTo>
                      <a:cubicBezTo>
                        <a:pt x="1422854" y="483797"/>
                        <a:pt x="1372368" y="469891"/>
                        <a:pt x="1318456" y="479415"/>
                      </a:cubicBezTo>
                      <a:cubicBezTo>
                        <a:pt x="1313504" y="480369"/>
                        <a:pt x="1307978" y="478273"/>
                        <a:pt x="1303024" y="476939"/>
                      </a:cubicBezTo>
                      <a:cubicBezTo>
                        <a:pt x="1278829" y="470081"/>
                        <a:pt x="1255206" y="459223"/>
                        <a:pt x="1230633" y="456746"/>
                      </a:cubicBezTo>
                      <a:cubicBezTo>
                        <a:pt x="1170051" y="450650"/>
                        <a:pt x="1109091" y="448172"/>
                        <a:pt x="1048125" y="444172"/>
                      </a:cubicBezTo>
                      <a:cubicBezTo>
                        <a:pt x="1044315" y="443982"/>
                        <a:pt x="1040315" y="443982"/>
                        <a:pt x="1036887" y="442648"/>
                      </a:cubicBezTo>
                      <a:cubicBezTo>
                        <a:pt x="1014406" y="434456"/>
                        <a:pt x="994785" y="437124"/>
                        <a:pt x="975733" y="452744"/>
                      </a:cubicBezTo>
                      <a:cubicBezTo>
                        <a:pt x="967350" y="459603"/>
                        <a:pt x="955920" y="463223"/>
                        <a:pt x="945444" y="467033"/>
                      </a:cubicBezTo>
                      <a:cubicBezTo>
                        <a:pt x="930011" y="472749"/>
                        <a:pt x="914200" y="478273"/>
                        <a:pt x="898198" y="481893"/>
                      </a:cubicBezTo>
                      <a:cubicBezTo>
                        <a:pt x="882384" y="485321"/>
                        <a:pt x="865430" y="490084"/>
                        <a:pt x="850189" y="487417"/>
                      </a:cubicBezTo>
                      <a:cubicBezTo>
                        <a:pt x="822756" y="482655"/>
                        <a:pt x="796655" y="471987"/>
                        <a:pt x="769605" y="464937"/>
                      </a:cubicBezTo>
                      <a:cubicBezTo>
                        <a:pt x="760270" y="462461"/>
                        <a:pt x="749982" y="462843"/>
                        <a:pt x="740268" y="462651"/>
                      </a:cubicBezTo>
                      <a:cubicBezTo>
                        <a:pt x="717977" y="462081"/>
                        <a:pt x="695116" y="467605"/>
                        <a:pt x="674923" y="451792"/>
                      </a:cubicBezTo>
                      <a:cubicBezTo>
                        <a:pt x="656255" y="436934"/>
                        <a:pt x="637392" y="441314"/>
                        <a:pt x="617772" y="452554"/>
                      </a:cubicBezTo>
                      <a:cubicBezTo>
                        <a:pt x="603673" y="460557"/>
                        <a:pt x="587672" y="466843"/>
                        <a:pt x="571860" y="469891"/>
                      </a:cubicBezTo>
                      <a:cubicBezTo>
                        <a:pt x="550141" y="474081"/>
                        <a:pt x="528615" y="475797"/>
                        <a:pt x="505182" y="473319"/>
                      </a:cubicBezTo>
                      <a:cubicBezTo>
                        <a:pt x="488607" y="471605"/>
                        <a:pt x="475081" y="470843"/>
                        <a:pt x="462126" y="460747"/>
                      </a:cubicBezTo>
                      <a:cubicBezTo>
                        <a:pt x="460032" y="459223"/>
                        <a:pt x="456222" y="458841"/>
                        <a:pt x="453364" y="459033"/>
                      </a:cubicBezTo>
                      <a:cubicBezTo>
                        <a:pt x="415835" y="462271"/>
                        <a:pt x="378686" y="460557"/>
                        <a:pt x="340774" y="458268"/>
                      </a:cubicBezTo>
                      <a:cubicBezTo>
                        <a:pt x="292579" y="455222"/>
                        <a:pt x="241901" y="464175"/>
                        <a:pt x="200182" y="496180"/>
                      </a:cubicBezTo>
                      <a:cubicBezTo>
                        <a:pt x="194085" y="500944"/>
                        <a:pt x="184941" y="503038"/>
                        <a:pt x="176939" y="504182"/>
                      </a:cubicBezTo>
                      <a:cubicBezTo>
                        <a:pt x="139219" y="509134"/>
                        <a:pt x="101308" y="512564"/>
                        <a:pt x="63587" y="518088"/>
                      </a:cubicBezTo>
                      <a:cubicBezTo>
                        <a:pt x="43012" y="521137"/>
                        <a:pt x="21486" y="523805"/>
                        <a:pt x="2817" y="532187"/>
                      </a:cubicBezTo>
                      <a:lnTo>
                        <a:pt x="0" y="533314"/>
                      </a:lnTo>
                      <a:close/>
                    </a:path>
                  </a:pathLst>
                </a:cu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grpSp>
      <p:sp>
        <p:nvSpPr>
          <p:cNvPr id="3" name="Date Placeholder 2">
            <a:extLst>
              <a:ext uri="{FF2B5EF4-FFF2-40B4-BE49-F238E27FC236}">
                <a16:creationId xmlns:a16="http://schemas.microsoft.com/office/drawing/2014/main" id="{E17F5ADD-4B53-7CE7-12C9-6B44A4659B6A}"/>
              </a:ext>
            </a:extLst>
          </p:cNvPr>
          <p:cNvSpPr>
            <a:spLocks noGrp="1"/>
          </p:cNvSpPr>
          <p:nvPr>
            <p:ph type="dt" sz="half" idx="10"/>
          </p:nvPr>
        </p:nvSpPr>
        <p:spPr>
          <a:xfrm>
            <a:off x="838200" y="476250"/>
            <a:ext cx="2743200" cy="365125"/>
          </a:xfrm>
        </p:spPr>
        <p:txBody>
          <a:bodyPr vert="horz" lIns="91440" tIns="45720" rIns="91440" bIns="45720" rtlCol="0" anchor="ctr">
            <a:normAutofit/>
          </a:bodyPr>
          <a:lstStyle/>
          <a:p>
            <a:pPr>
              <a:spcAft>
                <a:spcPts val="600"/>
              </a:spcAft>
            </a:pPr>
            <a:fld id="{20AEEEAE-463A-3F48-86E5-C211F01044BF}" type="datetime1">
              <a:rPr lang="en-US" sz="1000">
                <a:solidFill>
                  <a:schemeClr val="bg1">
                    <a:alpha val="60000"/>
                  </a:schemeClr>
                </a:solidFill>
              </a:rPr>
              <a:pPr>
                <a:spcAft>
                  <a:spcPts val="600"/>
                </a:spcAft>
              </a:pPr>
              <a:t>9/18/24</a:t>
            </a:fld>
            <a:endParaRPr lang="en-US" sz="1000">
              <a:solidFill>
                <a:schemeClr val="bg1">
                  <a:alpha val="60000"/>
                </a:schemeClr>
              </a:solidFill>
            </a:endParaRPr>
          </a:p>
        </p:txBody>
      </p:sp>
      <p:sp>
        <p:nvSpPr>
          <p:cNvPr id="5" name="Slide Number Placeholder 4">
            <a:extLst>
              <a:ext uri="{FF2B5EF4-FFF2-40B4-BE49-F238E27FC236}">
                <a16:creationId xmlns:a16="http://schemas.microsoft.com/office/drawing/2014/main" id="{1BA67996-3DAC-03C8-BDC8-B31D54E6C21F}"/>
              </a:ext>
            </a:extLst>
          </p:cNvPr>
          <p:cNvSpPr>
            <a:spLocks noGrp="1"/>
          </p:cNvSpPr>
          <p:nvPr>
            <p:ph type="sldNum" sz="quarter" idx="12"/>
          </p:nvPr>
        </p:nvSpPr>
        <p:spPr>
          <a:xfrm>
            <a:off x="8737600" y="466933"/>
            <a:ext cx="2635250" cy="707886"/>
          </a:xfrm>
        </p:spPr>
        <p:txBody>
          <a:bodyPr vert="horz" lIns="91440" tIns="45720" rIns="91440" bIns="45720" rtlCol="0" anchor="ctr">
            <a:normAutofit/>
          </a:bodyPr>
          <a:lstStyle/>
          <a:p>
            <a:pPr>
              <a:lnSpc>
                <a:spcPct val="90000"/>
              </a:lnSpc>
              <a:spcAft>
                <a:spcPts val="600"/>
              </a:spcAft>
            </a:pPr>
            <a:fld id="{864F6FD7-2FFA-4E2A-8671-45222C163BF2}" type="slidenum">
              <a:rPr lang="en-US" sz="4400">
                <a:solidFill>
                  <a:srgbClr val="FFFFFF"/>
                </a:solidFill>
              </a:rPr>
              <a:pPr>
                <a:lnSpc>
                  <a:spcPct val="90000"/>
                </a:lnSpc>
                <a:spcAft>
                  <a:spcPts val="600"/>
                </a:spcAft>
              </a:pPr>
              <a:t>5</a:t>
            </a:fld>
            <a:endParaRPr lang="en-US" sz="4400">
              <a:solidFill>
                <a:srgbClr val="FFFFFF"/>
              </a:solidFill>
            </a:endParaRPr>
          </a:p>
        </p:txBody>
      </p:sp>
      <p:sp>
        <p:nvSpPr>
          <p:cNvPr id="4" name="Footer Placeholder 3">
            <a:extLst>
              <a:ext uri="{FF2B5EF4-FFF2-40B4-BE49-F238E27FC236}">
                <a16:creationId xmlns:a16="http://schemas.microsoft.com/office/drawing/2014/main" id="{ED08FEB1-B446-CB78-D86C-95ADA4518CF7}"/>
              </a:ext>
            </a:extLst>
          </p:cNvPr>
          <p:cNvSpPr>
            <a:spLocks noGrp="1"/>
          </p:cNvSpPr>
          <p:nvPr>
            <p:ph type="ftr" sz="quarter" idx="11"/>
          </p:nvPr>
        </p:nvSpPr>
        <p:spPr>
          <a:xfrm>
            <a:off x="-702366" y="5767793"/>
            <a:ext cx="9899236" cy="1090197"/>
          </a:xfrm>
        </p:spPr>
        <p:txBody>
          <a:bodyPr vert="horz" lIns="91440" tIns="45720" rIns="91440" bIns="45720" rtlCol="0" anchor="ctr">
            <a:normAutofit/>
          </a:bodyPr>
          <a:lstStyle/>
          <a:p>
            <a:pPr algn="r"/>
            <a:r>
              <a:rPr lang="en-US" sz="2800" kern="1200" dirty="0" err="1">
                <a:solidFill>
                  <a:srgbClr val="FFFFFF"/>
                </a:solidFill>
                <a:latin typeface="+mn-lt"/>
                <a:ea typeface="+mn-ea"/>
                <a:cs typeface="+mn-cs"/>
              </a:rPr>
              <a:t>Tiktok</a:t>
            </a:r>
            <a:r>
              <a:rPr lang="en-US" sz="2800" kern="1200" dirty="0">
                <a:solidFill>
                  <a:srgbClr val="FFFFFF"/>
                </a:solidFill>
                <a:latin typeface="+mn-lt"/>
                <a:ea typeface="+mn-ea"/>
                <a:cs typeface="+mn-cs"/>
              </a:rPr>
              <a:t> feeds teens a diet of </a:t>
            </a:r>
            <a:r>
              <a:rPr lang="en-US" sz="2800" kern="1200" dirty="0" err="1">
                <a:solidFill>
                  <a:srgbClr val="FFFFFF"/>
                </a:solidFill>
                <a:latin typeface="+mn-lt"/>
                <a:ea typeface="+mn-ea"/>
                <a:cs typeface="+mn-cs"/>
              </a:rPr>
              <a:t>darkness_</a:t>
            </a:r>
            <a:r>
              <a:rPr lang="en-US" sz="2800" dirty="0" err="1">
                <a:solidFill>
                  <a:srgbClr val="FFFFFF"/>
                </a:solidFill>
              </a:rPr>
              <a:t>the</a:t>
            </a:r>
            <a:r>
              <a:rPr lang="en-US" sz="2800" dirty="0">
                <a:solidFill>
                  <a:srgbClr val="FFFFFF"/>
                </a:solidFill>
              </a:rPr>
              <a:t> Wall Street Journal</a:t>
            </a:r>
            <a:endParaRPr lang="en-US" sz="2800" kern="1200" dirty="0">
              <a:solidFill>
                <a:srgbClr val="FFFFFF"/>
              </a:solidFill>
              <a:latin typeface="+mn-lt"/>
              <a:ea typeface="+mn-ea"/>
              <a:cs typeface="+mn-cs"/>
            </a:endParaRPr>
          </a:p>
        </p:txBody>
      </p:sp>
      <p:sp>
        <p:nvSpPr>
          <p:cNvPr id="2" name="Title 1">
            <a:extLst>
              <a:ext uri="{FF2B5EF4-FFF2-40B4-BE49-F238E27FC236}">
                <a16:creationId xmlns:a16="http://schemas.microsoft.com/office/drawing/2014/main" id="{66F4FDF5-E040-F6B8-FDC7-4A99911880C4}"/>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23233594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descr="A screen shot of a computer&#10;&#10;Description automatically generated">
            <a:extLst>
              <a:ext uri="{FF2B5EF4-FFF2-40B4-BE49-F238E27FC236}">
                <a16:creationId xmlns:a16="http://schemas.microsoft.com/office/drawing/2014/main" id="{E7DAA1C1-A0B7-AEBF-8F4F-E1B612E40EB7}"/>
              </a:ext>
            </a:extLst>
          </p:cNvPr>
          <p:cNvPicPr>
            <a:picLocks noChangeAspect="1"/>
          </p:cNvPicPr>
          <p:nvPr/>
        </p:nvPicPr>
        <p:blipFill>
          <a:blip r:embed="rId2">
            <a:extLst>
              <a:ext uri="{28A0092B-C50C-407E-A947-70E740481C1C}">
                <a14:useLocalDpi xmlns:a14="http://schemas.microsoft.com/office/drawing/2010/main" val="0"/>
              </a:ext>
            </a:extLst>
          </a:blip>
          <a:srcRect t="442"/>
          <a:stretch/>
        </p:blipFill>
        <p:spPr>
          <a:xfrm>
            <a:off x="20" y="10"/>
            <a:ext cx="12191980" cy="6857990"/>
          </a:xfrm>
          <a:prstGeom prst="rect">
            <a:avLst/>
          </a:prstGeom>
        </p:spPr>
      </p:pic>
      <p:sp>
        <p:nvSpPr>
          <p:cNvPr id="12" name="Rectangle 11">
            <a:extLst>
              <a:ext uri="{FF2B5EF4-FFF2-40B4-BE49-F238E27FC236}">
                <a16:creationId xmlns:a16="http://schemas.microsoft.com/office/drawing/2014/main" id="{3B432D73-5C38-474F-AF96-A3228731BF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0">
                <a:schemeClr val="tx1">
                  <a:lumMod val="95000"/>
                  <a:lumOff val="5000"/>
                </a:schemeClr>
              </a:gs>
              <a:gs pos="45000">
                <a:schemeClr val="tx1">
                  <a:lumMod val="95000"/>
                  <a:lumOff val="5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17430AC1-7BC4-1129-A666-5CE93B7A2766}"/>
              </a:ext>
            </a:extLst>
          </p:cNvPr>
          <p:cNvSpPr>
            <a:spLocks noGrp="1"/>
          </p:cNvSpPr>
          <p:nvPr>
            <p:ph type="dt" sz="half" idx="10"/>
          </p:nvPr>
        </p:nvSpPr>
        <p:spPr>
          <a:xfrm>
            <a:off x="838200" y="6356350"/>
            <a:ext cx="2743200" cy="365125"/>
          </a:xfrm>
        </p:spPr>
        <p:txBody>
          <a:bodyPr vert="horz" lIns="91440" tIns="45720" rIns="91440" bIns="45720" rtlCol="0" anchor="ctr">
            <a:normAutofit/>
          </a:bodyPr>
          <a:lstStyle/>
          <a:p>
            <a:pPr>
              <a:spcAft>
                <a:spcPts val="600"/>
              </a:spcAft>
            </a:pPr>
            <a:fld id="{378DCA25-9283-4944-86F9-A1DCEA8CE601}" type="datetime1">
              <a:rPr lang="en-US" sz="1200">
                <a:solidFill>
                  <a:srgbClr val="FFFFFF"/>
                </a:solidFill>
              </a:rPr>
              <a:pPr>
                <a:spcAft>
                  <a:spcPts val="600"/>
                </a:spcAft>
              </a:pPr>
              <a:t>9/18/24</a:t>
            </a:fld>
            <a:endParaRPr lang="en-US" sz="1200">
              <a:solidFill>
                <a:srgbClr val="FFFFFF"/>
              </a:solidFill>
            </a:endParaRPr>
          </a:p>
        </p:txBody>
      </p:sp>
      <p:sp>
        <p:nvSpPr>
          <p:cNvPr id="4" name="Footer Placeholder 3">
            <a:extLst>
              <a:ext uri="{FF2B5EF4-FFF2-40B4-BE49-F238E27FC236}">
                <a16:creationId xmlns:a16="http://schemas.microsoft.com/office/drawing/2014/main" id="{53D5F8B4-869E-7313-F02D-694130F7C1B5}"/>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sz="1200" kern="1200">
              <a:solidFill>
                <a:srgbClr val="FFFFFF"/>
              </a:solidFill>
              <a:latin typeface="+mn-lt"/>
              <a:ea typeface="+mn-ea"/>
              <a:cs typeface="+mn-cs"/>
            </a:endParaRPr>
          </a:p>
        </p:txBody>
      </p:sp>
      <p:sp>
        <p:nvSpPr>
          <p:cNvPr id="5" name="Slide Number Placeholder 4">
            <a:extLst>
              <a:ext uri="{FF2B5EF4-FFF2-40B4-BE49-F238E27FC236}">
                <a16:creationId xmlns:a16="http://schemas.microsoft.com/office/drawing/2014/main" id="{95CDBC2D-0D9F-7182-A3F6-48E98B556D64}"/>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864F6FD7-2FFA-4E2A-8671-45222C163BF2}" type="slidenum">
              <a:rPr lang="en-US" sz="1200">
                <a:solidFill>
                  <a:srgbClr val="FFFFFF"/>
                </a:solidFill>
              </a:rPr>
              <a:pPr>
                <a:spcAft>
                  <a:spcPts val="600"/>
                </a:spcAft>
              </a:pPr>
              <a:t>6</a:t>
            </a:fld>
            <a:endParaRPr lang="en-US" sz="1200">
              <a:solidFill>
                <a:srgbClr val="FFFFFF"/>
              </a:solidFill>
            </a:endParaRPr>
          </a:p>
        </p:txBody>
      </p:sp>
      <p:sp>
        <p:nvSpPr>
          <p:cNvPr id="2" name="Title 1">
            <a:extLst>
              <a:ext uri="{FF2B5EF4-FFF2-40B4-BE49-F238E27FC236}">
                <a16:creationId xmlns:a16="http://schemas.microsoft.com/office/drawing/2014/main" id="{450641F4-481B-8483-13F3-929940C153F6}"/>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66000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FABE6469-A474-3F0B-7433-4ED5F8CB5BEE}"/>
              </a:ext>
            </a:extLst>
          </p:cNvPr>
          <p:cNvSpPr>
            <a:spLocks noGrp="1"/>
          </p:cNvSpPr>
          <p:nvPr>
            <p:ph type="ftr" sz="quarter" idx="11"/>
          </p:nvPr>
        </p:nvSpPr>
        <p:spPr>
          <a:xfrm rot="5400000">
            <a:off x="-1828800" y="2002536"/>
            <a:ext cx="4114800" cy="365125"/>
          </a:xfrm>
        </p:spPr>
        <p:txBody>
          <a:bodyPr vert="horz" lIns="91440" tIns="45720" rIns="91440" bIns="45720" rtlCol="0" anchor="ctr">
            <a:normAutofit/>
          </a:bodyPr>
          <a:lstStyle/>
          <a:p>
            <a:pPr algn="l"/>
            <a:endParaRPr lang="en-US" sz="1100" kern="1200">
              <a:solidFill>
                <a:srgbClr val="FFFFFF"/>
              </a:solidFill>
              <a:latin typeface="+mn-lt"/>
              <a:ea typeface="+mn-ea"/>
              <a:cs typeface="+mn-cs"/>
            </a:endParaRPr>
          </a:p>
        </p:txBody>
      </p:sp>
      <p:pic>
        <p:nvPicPr>
          <p:cNvPr id="7" name="Picture 6" descr="A screen shot of a graph&#10;&#10;Description automatically generated">
            <a:extLst>
              <a:ext uri="{FF2B5EF4-FFF2-40B4-BE49-F238E27FC236}">
                <a16:creationId xmlns:a16="http://schemas.microsoft.com/office/drawing/2014/main" id="{9F91495E-2BF8-AB2C-5A2A-598ED37EFB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1233" y="457200"/>
            <a:ext cx="11109533" cy="5943600"/>
          </a:xfrm>
          <a:prstGeom prst="rect">
            <a:avLst/>
          </a:prstGeom>
        </p:spPr>
      </p:pic>
      <p:sp>
        <p:nvSpPr>
          <p:cNvPr id="3" name="Date Placeholder 2">
            <a:extLst>
              <a:ext uri="{FF2B5EF4-FFF2-40B4-BE49-F238E27FC236}">
                <a16:creationId xmlns:a16="http://schemas.microsoft.com/office/drawing/2014/main" id="{712E8D87-6115-69F5-CA6F-6CEAD3A37490}"/>
              </a:ext>
            </a:extLst>
          </p:cNvPr>
          <p:cNvSpPr>
            <a:spLocks noGrp="1"/>
          </p:cNvSpPr>
          <p:nvPr>
            <p:ph type="dt" sz="half" idx="10"/>
          </p:nvPr>
        </p:nvSpPr>
        <p:spPr>
          <a:xfrm>
            <a:off x="8991600" y="6455664"/>
            <a:ext cx="2743200" cy="365125"/>
          </a:xfrm>
        </p:spPr>
        <p:txBody>
          <a:bodyPr vert="horz" lIns="91440" tIns="45720" rIns="91440" bIns="45720" rtlCol="0" anchor="ctr">
            <a:normAutofit/>
          </a:bodyPr>
          <a:lstStyle/>
          <a:p>
            <a:pPr algn="r">
              <a:spcAft>
                <a:spcPts val="600"/>
              </a:spcAft>
            </a:pPr>
            <a:fld id="{659608C9-8495-EE47-ADE4-0006063E7827}" type="datetime1">
              <a:rPr lang="en-US" sz="1100">
                <a:solidFill>
                  <a:srgbClr val="FFFFFF"/>
                </a:solidFill>
              </a:rPr>
              <a:pPr algn="r">
                <a:spcAft>
                  <a:spcPts val="600"/>
                </a:spcAft>
              </a:pPr>
              <a:t>9/18/24</a:t>
            </a:fld>
            <a:endParaRPr lang="en-US" sz="1100">
              <a:solidFill>
                <a:srgbClr val="FFFFFF"/>
              </a:solidFill>
            </a:endParaRPr>
          </a:p>
        </p:txBody>
      </p:sp>
      <p:sp>
        <p:nvSpPr>
          <p:cNvPr id="5" name="Slide Number Placeholder 4">
            <a:extLst>
              <a:ext uri="{FF2B5EF4-FFF2-40B4-BE49-F238E27FC236}">
                <a16:creationId xmlns:a16="http://schemas.microsoft.com/office/drawing/2014/main" id="{94151121-7B34-DF61-9D33-8D7D3D338506}"/>
              </a:ext>
            </a:extLst>
          </p:cNvPr>
          <p:cNvSpPr>
            <a:spLocks noGrp="1"/>
          </p:cNvSpPr>
          <p:nvPr>
            <p:ph type="sldNum" sz="quarter" idx="12"/>
          </p:nvPr>
        </p:nvSpPr>
        <p:spPr>
          <a:xfrm>
            <a:off x="11704320" y="6455664"/>
            <a:ext cx="448056" cy="365125"/>
          </a:xfrm>
        </p:spPr>
        <p:txBody>
          <a:bodyPr vert="horz" lIns="91440" tIns="45720" rIns="91440" bIns="45720" rtlCol="0" anchor="ctr">
            <a:normAutofit/>
          </a:bodyPr>
          <a:lstStyle/>
          <a:p>
            <a:pPr>
              <a:spcAft>
                <a:spcPts val="600"/>
              </a:spcAft>
            </a:pPr>
            <a:fld id="{864F6FD7-2FFA-4E2A-8671-45222C163BF2}" type="slidenum">
              <a:rPr lang="en-US" sz="1100">
                <a:solidFill>
                  <a:srgbClr val="FFFFFF"/>
                </a:solidFill>
              </a:rPr>
              <a:pPr>
                <a:spcAft>
                  <a:spcPts val="600"/>
                </a:spcAft>
              </a:pPr>
              <a:t>7</a:t>
            </a:fld>
            <a:endParaRPr lang="en-US" sz="1100">
              <a:solidFill>
                <a:srgbClr val="FFFFFF"/>
              </a:solidFill>
            </a:endParaRPr>
          </a:p>
        </p:txBody>
      </p:sp>
      <p:sp>
        <p:nvSpPr>
          <p:cNvPr id="2" name="Title 1">
            <a:extLst>
              <a:ext uri="{FF2B5EF4-FFF2-40B4-BE49-F238E27FC236}">
                <a16:creationId xmlns:a16="http://schemas.microsoft.com/office/drawing/2014/main" id="{5A0BF45D-9FD2-2B16-7DB9-827E5FB75DA7}"/>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6181831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7B0EF837-0F26-8C9A-F90E-70CFFF6F0E16}"/>
              </a:ext>
            </a:extLst>
          </p:cNvPr>
          <p:cNvSpPr>
            <a:spLocks noGrp="1"/>
          </p:cNvSpPr>
          <p:nvPr>
            <p:ph type="ftr" sz="quarter" idx="11"/>
          </p:nvPr>
        </p:nvSpPr>
        <p:spPr>
          <a:xfrm rot="5400000">
            <a:off x="-1828800" y="2002536"/>
            <a:ext cx="4114800" cy="365125"/>
          </a:xfrm>
        </p:spPr>
        <p:txBody>
          <a:bodyPr vert="horz" lIns="91440" tIns="45720" rIns="91440" bIns="45720" rtlCol="0" anchor="ctr">
            <a:normAutofit/>
          </a:bodyPr>
          <a:lstStyle/>
          <a:p>
            <a:pPr algn="l"/>
            <a:endParaRPr lang="en-US" sz="1100" kern="1200">
              <a:solidFill>
                <a:srgbClr val="FFFFFF"/>
              </a:solidFill>
              <a:latin typeface="+mn-lt"/>
              <a:ea typeface="+mn-ea"/>
              <a:cs typeface="+mn-cs"/>
            </a:endParaRPr>
          </a:p>
        </p:txBody>
      </p:sp>
      <p:pic>
        <p:nvPicPr>
          <p:cNvPr id="7" name="Picture 6" descr="A white board with writing on it&#10;&#10;Description automatically generated">
            <a:extLst>
              <a:ext uri="{FF2B5EF4-FFF2-40B4-BE49-F238E27FC236}">
                <a16:creationId xmlns:a16="http://schemas.microsoft.com/office/drawing/2014/main" id="{5CD6448C-6097-4B5A-6A9E-714A313FCDCF}"/>
              </a:ext>
            </a:extLst>
          </p:cNvPr>
          <p:cNvPicPr>
            <a:picLocks noChangeAspect="1"/>
          </p:cNvPicPr>
          <p:nvPr/>
        </p:nvPicPr>
        <p:blipFill>
          <a:blip r:embed="rId2">
            <a:extLst>
              <a:ext uri="{28A0092B-C50C-407E-A947-70E740481C1C}">
                <a14:useLocalDpi xmlns:a14="http://schemas.microsoft.com/office/drawing/2010/main" val="0"/>
              </a:ext>
            </a:extLst>
          </a:blip>
          <a:srcRect t="1490"/>
          <a:stretch/>
        </p:blipFill>
        <p:spPr>
          <a:xfrm>
            <a:off x="457200" y="457200"/>
            <a:ext cx="11277600" cy="5943600"/>
          </a:xfrm>
          <a:prstGeom prst="rect">
            <a:avLst/>
          </a:prstGeom>
        </p:spPr>
      </p:pic>
      <p:sp>
        <p:nvSpPr>
          <p:cNvPr id="3" name="Date Placeholder 2">
            <a:extLst>
              <a:ext uri="{FF2B5EF4-FFF2-40B4-BE49-F238E27FC236}">
                <a16:creationId xmlns:a16="http://schemas.microsoft.com/office/drawing/2014/main" id="{C3EF7BC6-761A-645F-1D99-BDD0DC8A77BA}"/>
              </a:ext>
            </a:extLst>
          </p:cNvPr>
          <p:cNvSpPr>
            <a:spLocks noGrp="1"/>
          </p:cNvSpPr>
          <p:nvPr>
            <p:ph type="dt" sz="half" idx="10"/>
          </p:nvPr>
        </p:nvSpPr>
        <p:spPr>
          <a:xfrm>
            <a:off x="8991600" y="6455664"/>
            <a:ext cx="2743200" cy="365125"/>
          </a:xfrm>
        </p:spPr>
        <p:txBody>
          <a:bodyPr vert="horz" lIns="91440" tIns="45720" rIns="91440" bIns="45720" rtlCol="0" anchor="ctr">
            <a:normAutofit/>
          </a:bodyPr>
          <a:lstStyle/>
          <a:p>
            <a:pPr algn="r">
              <a:spcAft>
                <a:spcPts val="600"/>
              </a:spcAft>
            </a:pPr>
            <a:fld id="{9BB9EB33-381F-8249-BC2C-0652BDC82A31}" type="datetime1">
              <a:rPr lang="en-US" sz="1100">
                <a:solidFill>
                  <a:srgbClr val="FFFFFF"/>
                </a:solidFill>
              </a:rPr>
              <a:pPr algn="r">
                <a:spcAft>
                  <a:spcPts val="600"/>
                </a:spcAft>
              </a:pPr>
              <a:t>9/18/24</a:t>
            </a:fld>
            <a:endParaRPr lang="en-US" sz="1100">
              <a:solidFill>
                <a:srgbClr val="FFFFFF"/>
              </a:solidFill>
            </a:endParaRPr>
          </a:p>
        </p:txBody>
      </p:sp>
      <p:sp>
        <p:nvSpPr>
          <p:cNvPr id="5" name="Slide Number Placeholder 4">
            <a:extLst>
              <a:ext uri="{FF2B5EF4-FFF2-40B4-BE49-F238E27FC236}">
                <a16:creationId xmlns:a16="http://schemas.microsoft.com/office/drawing/2014/main" id="{77D0CDB0-07FB-B350-4AEF-0C75819103A2}"/>
              </a:ext>
            </a:extLst>
          </p:cNvPr>
          <p:cNvSpPr>
            <a:spLocks noGrp="1"/>
          </p:cNvSpPr>
          <p:nvPr>
            <p:ph type="sldNum" sz="quarter" idx="12"/>
          </p:nvPr>
        </p:nvSpPr>
        <p:spPr>
          <a:xfrm>
            <a:off x="11704320" y="6455664"/>
            <a:ext cx="448056" cy="365125"/>
          </a:xfrm>
        </p:spPr>
        <p:txBody>
          <a:bodyPr vert="horz" lIns="91440" tIns="45720" rIns="91440" bIns="45720" rtlCol="0" anchor="ctr">
            <a:normAutofit/>
          </a:bodyPr>
          <a:lstStyle/>
          <a:p>
            <a:pPr>
              <a:spcAft>
                <a:spcPts val="600"/>
              </a:spcAft>
            </a:pPr>
            <a:fld id="{864F6FD7-2FFA-4E2A-8671-45222C163BF2}" type="slidenum">
              <a:rPr lang="en-US" sz="1100">
                <a:solidFill>
                  <a:srgbClr val="FFFFFF"/>
                </a:solidFill>
              </a:rPr>
              <a:pPr>
                <a:spcAft>
                  <a:spcPts val="600"/>
                </a:spcAft>
              </a:pPr>
              <a:t>8</a:t>
            </a:fld>
            <a:endParaRPr lang="en-US" sz="1100">
              <a:solidFill>
                <a:srgbClr val="FFFFFF"/>
              </a:solidFill>
            </a:endParaRPr>
          </a:p>
        </p:txBody>
      </p:sp>
      <p:sp>
        <p:nvSpPr>
          <p:cNvPr id="2" name="Title 1">
            <a:extLst>
              <a:ext uri="{FF2B5EF4-FFF2-40B4-BE49-F238E27FC236}">
                <a16:creationId xmlns:a16="http://schemas.microsoft.com/office/drawing/2014/main" id="{BB771A05-0394-19E0-8724-FD9D7805EAFC}"/>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2854451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95" name="Rectangle 3094">
            <a:extLst>
              <a:ext uri="{FF2B5EF4-FFF2-40B4-BE49-F238E27FC236}">
                <a16:creationId xmlns:a16="http://schemas.microsoft.com/office/drawing/2014/main" id="{0B761509-3B9A-49A6-A84B-C3D8681169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99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00982733-5FA8-3408-E0B1-0953309A532C}"/>
              </a:ext>
            </a:extLst>
          </p:cNvPr>
          <p:cNvSpPr>
            <a:spLocks noGrp="1"/>
          </p:cNvSpPr>
          <p:nvPr>
            <p:ph type="ftr" sz="quarter" idx="11"/>
          </p:nvPr>
        </p:nvSpPr>
        <p:spPr>
          <a:xfrm>
            <a:off x="6639084" y="278341"/>
            <a:ext cx="5552914" cy="365125"/>
          </a:xfrm>
        </p:spPr>
        <p:txBody>
          <a:bodyPr vert="horz" lIns="91440" tIns="45720" rIns="91440" bIns="45720" rtlCol="0" anchor="ctr">
            <a:noAutofit/>
          </a:bodyPr>
          <a:lstStyle/>
          <a:p>
            <a:pPr algn="r"/>
            <a:r>
              <a:rPr lang="en-US" sz="3200" kern="1200" dirty="0">
                <a:solidFill>
                  <a:srgbClr val="FF0000">
                    <a:alpha val="80000"/>
                  </a:srgbClr>
                </a:solidFill>
                <a:latin typeface="+mn-lt"/>
                <a:ea typeface="+mn-ea"/>
                <a:cs typeface="+mn-cs"/>
              </a:rPr>
              <a:t>Hateful content online</a:t>
            </a:r>
          </a:p>
        </p:txBody>
      </p:sp>
      <p:sp useBgFill="1">
        <p:nvSpPr>
          <p:cNvPr id="3097" name="Freeform: Shape 3096">
            <a:extLst>
              <a:ext uri="{FF2B5EF4-FFF2-40B4-BE49-F238E27FC236}">
                <a16:creationId xmlns:a16="http://schemas.microsoft.com/office/drawing/2014/main" id="{91DE43FD-EB47-414A-B0AB-169B0FFFA5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272922" cy="6858000"/>
          </a:xfrm>
          <a:custGeom>
            <a:avLst/>
            <a:gdLst>
              <a:gd name="connsiteX0" fmla="*/ 0 w 9272922"/>
              <a:gd name="connsiteY0" fmla="*/ 0 h 6858000"/>
              <a:gd name="connsiteX1" fmla="*/ 1733417 w 9272922"/>
              <a:gd name="connsiteY1" fmla="*/ 0 h 6858000"/>
              <a:gd name="connsiteX2" fmla="*/ 3307976 w 9272922"/>
              <a:gd name="connsiteY2" fmla="*/ 0 h 6858000"/>
              <a:gd name="connsiteX3" fmla="*/ 8126249 w 9272922"/>
              <a:gd name="connsiteY3" fmla="*/ 0 h 6858000"/>
              <a:gd name="connsiteX4" fmla="*/ 8138896 w 9272922"/>
              <a:gd name="connsiteY4" fmla="*/ 31774 h 6858000"/>
              <a:gd name="connsiteX5" fmla="*/ 9193904 w 9272922"/>
              <a:gd name="connsiteY5" fmla="*/ 2682457 h 6858000"/>
              <a:gd name="connsiteX6" fmla="*/ 9193904 w 9272922"/>
              <a:gd name="connsiteY6" fmla="*/ 3752208 h 6858000"/>
              <a:gd name="connsiteX7" fmla="*/ 8036400 w 9272922"/>
              <a:gd name="connsiteY7" fmla="*/ 6660411 h 6858000"/>
              <a:gd name="connsiteX8" fmla="*/ 7957938 w 9272922"/>
              <a:gd name="connsiteY8" fmla="*/ 6857542 h 6858000"/>
              <a:gd name="connsiteX9" fmla="*/ 3307976 w 9272922"/>
              <a:gd name="connsiteY9" fmla="*/ 6857542 h 6858000"/>
              <a:gd name="connsiteX10" fmla="*/ 3307976 w 9272922"/>
              <a:gd name="connsiteY10" fmla="*/ 6858000 h 6858000"/>
              <a:gd name="connsiteX11" fmla="*/ 0 w 9272922"/>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72922" h="6858000">
                <a:moveTo>
                  <a:pt x="0" y="0"/>
                </a:moveTo>
                <a:lnTo>
                  <a:pt x="1733417" y="0"/>
                </a:lnTo>
                <a:lnTo>
                  <a:pt x="3307976" y="0"/>
                </a:lnTo>
                <a:lnTo>
                  <a:pt x="8126249" y="0"/>
                </a:lnTo>
                <a:lnTo>
                  <a:pt x="8138896" y="31774"/>
                </a:lnTo>
                <a:cubicBezTo>
                  <a:pt x="9193904" y="2682457"/>
                  <a:pt x="9193904" y="2682457"/>
                  <a:pt x="9193904" y="2682457"/>
                </a:cubicBezTo>
                <a:cubicBezTo>
                  <a:pt x="9299262" y="2988100"/>
                  <a:pt x="9299262" y="3446565"/>
                  <a:pt x="9193904" y="3752208"/>
                </a:cubicBezTo>
                <a:cubicBezTo>
                  <a:pt x="8709916" y="4968215"/>
                  <a:pt x="8331802" y="5918220"/>
                  <a:pt x="8036400" y="6660411"/>
                </a:cubicBezTo>
                <a:lnTo>
                  <a:pt x="7957938" y="6857542"/>
                </a:lnTo>
                <a:lnTo>
                  <a:pt x="3307976" y="6857542"/>
                </a:lnTo>
                <a:lnTo>
                  <a:pt x="3307976" y="6858000"/>
                </a:ln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74" name="Picture 2" descr="May be an image of 2 people, people playing football and text">
            <a:extLst>
              <a:ext uri="{FF2B5EF4-FFF2-40B4-BE49-F238E27FC236}">
                <a16:creationId xmlns:a16="http://schemas.microsoft.com/office/drawing/2014/main" id="{99FDEF05-61DC-6CC3-1E1F-291C5F72CE8E}"/>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90971" y="643466"/>
            <a:ext cx="5552915" cy="5566833"/>
          </a:xfrm>
          <a:prstGeom prst="rect">
            <a:avLst/>
          </a:prstGeom>
          <a:noFill/>
          <a:extLst>
            <a:ext uri="{909E8E84-426E-40DD-AFC4-6F175D3DCCD1}">
              <a14:hiddenFill xmlns:a14="http://schemas.microsoft.com/office/drawing/2010/main">
                <a:solidFill>
                  <a:srgbClr val="FFFFFF"/>
                </a:solidFill>
              </a14:hiddenFill>
            </a:ext>
          </a:extLst>
        </p:spPr>
      </p:pic>
      <p:grpSp>
        <p:nvGrpSpPr>
          <p:cNvPr id="3099" name="Group 3098">
            <a:extLst>
              <a:ext uri="{FF2B5EF4-FFF2-40B4-BE49-F238E27FC236}">
                <a16:creationId xmlns:a16="http://schemas.microsoft.com/office/drawing/2014/main" id="{58495BCC-CE77-4CC2-952E-846F41119FD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160561" y="1075188"/>
            <a:ext cx="1562267" cy="1172973"/>
            <a:chOff x="9160561" y="1075188"/>
            <a:chExt cx="1562267" cy="1172973"/>
          </a:xfrm>
        </p:grpSpPr>
        <p:sp>
          <p:nvSpPr>
            <p:cNvPr id="3100" name="Freeform 5">
              <a:extLst>
                <a:ext uri="{FF2B5EF4-FFF2-40B4-BE49-F238E27FC236}">
                  <a16:creationId xmlns:a16="http://schemas.microsoft.com/office/drawing/2014/main" id="{1B42538B-E30F-4967-A6C1-8EBA775F4D6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160561" y="1423846"/>
              <a:ext cx="935037" cy="8243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3101" name="Freeform 5">
              <a:extLst>
                <a:ext uri="{FF2B5EF4-FFF2-40B4-BE49-F238E27FC236}">
                  <a16:creationId xmlns:a16="http://schemas.microsoft.com/office/drawing/2014/main" id="{9A6BD9AC-4DE7-4B20-8547-4E3B375C21F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960661" y="1075188"/>
              <a:ext cx="762167" cy="6719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8B3C388D-B26A-A4B9-004C-6C7A7CCF55FC}"/>
              </a:ext>
            </a:extLst>
          </p:cNvPr>
          <p:cNvSpPr>
            <a:spLocks noGrp="1"/>
          </p:cNvSpPr>
          <p:nvPr>
            <p:ph type="dt" sz="half" idx="10"/>
          </p:nvPr>
        </p:nvSpPr>
        <p:spPr>
          <a:xfrm>
            <a:off x="9580287" y="5519016"/>
            <a:ext cx="2173918" cy="365125"/>
          </a:xfrm>
        </p:spPr>
        <p:txBody>
          <a:bodyPr vert="horz" lIns="91440" tIns="45720" rIns="91440" bIns="45720" rtlCol="0" anchor="ctr">
            <a:normAutofit/>
          </a:bodyPr>
          <a:lstStyle/>
          <a:p>
            <a:pPr algn="r">
              <a:spcAft>
                <a:spcPts val="600"/>
              </a:spcAft>
            </a:pPr>
            <a:fld id="{4BD9F289-2F82-2D4C-94F6-442F8F3ED702}" type="datetime1">
              <a:rPr lang="en-US" sz="1100">
                <a:solidFill>
                  <a:schemeClr val="bg1">
                    <a:alpha val="80000"/>
                  </a:schemeClr>
                </a:solidFill>
              </a:rPr>
              <a:pPr algn="r">
                <a:spcAft>
                  <a:spcPts val="600"/>
                </a:spcAft>
              </a:pPr>
              <a:t>9/18/24</a:t>
            </a:fld>
            <a:endParaRPr lang="en-US" sz="1100">
              <a:solidFill>
                <a:schemeClr val="bg1">
                  <a:alpha val="80000"/>
                </a:schemeClr>
              </a:solidFill>
            </a:endParaRPr>
          </a:p>
        </p:txBody>
      </p:sp>
      <p:sp>
        <p:nvSpPr>
          <p:cNvPr id="5" name="Slide Number Placeholder 4">
            <a:extLst>
              <a:ext uri="{FF2B5EF4-FFF2-40B4-BE49-F238E27FC236}">
                <a16:creationId xmlns:a16="http://schemas.microsoft.com/office/drawing/2014/main" id="{FAEF60BB-D4C8-47BB-7BA4-504CCBE5D127}"/>
              </a:ext>
            </a:extLst>
          </p:cNvPr>
          <p:cNvSpPr>
            <a:spLocks noGrp="1"/>
          </p:cNvSpPr>
          <p:nvPr>
            <p:ph type="sldNum" sz="quarter" idx="12"/>
          </p:nvPr>
        </p:nvSpPr>
        <p:spPr>
          <a:xfrm>
            <a:off x="11146536" y="6035040"/>
            <a:ext cx="548640" cy="548640"/>
          </a:xfrm>
          <a:prstGeom prst="ellipse">
            <a:avLst/>
          </a:prstGeom>
          <a:solidFill>
            <a:schemeClr val="bg1">
              <a:alpha val="80000"/>
            </a:schemeClr>
          </a:solidFill>
        </p:spPr>
        <p:txBody>
          <a:bodyPr vert="horz" lIns="91440" tIns="45720" rIns="91440" bIns="45720" rtlCol="0" anchor="ctr">
            <a:normAutofit/>
          </a:bodyPr>
          <a:lstStyle/>
          <a:p>
            <a:pPr algn="ctr">
              <a:spcAft>
                <a:spcPts val="600"/>
              </a:spcAft>
            </a:pPr>
            <a:fld id="{864F6FD7-2FFA-4E2A-8671-45222C163BF2}" type="slidenum">
              <a:rPr lang="en-US" sz="1200">
                <a:solidFill>
                  <a:schemeClr val="tx1"/>
                </a:solidFill>
              </a:rPr>
              <a:pPr algn="ctr">
                <a:spcAft>
                  <a:spcPts val="600"/>
                </a:spcAft>
              </a:pPr>
              <a:t>9</a:t>
            </a:fld>
            <a:endParaRPr lang="en-US" sz="1200">
              <a:solidFill>
                <a:schemeClr val="tx1"/>
              </a:solidFill>
            </a:endParaRPr>
          </a:p>
        </p:txBody>
      </p:sp>
      <p:sp>
        <p:nvSpPr>
          <p:cNvPr id="2" name="Title 1">
            <a:extLst>
              <a:ext uri="{FF2B5EF4-FFF2-40B4-BE49-F238E27FC236}">
                <a16:creationId xmlns:a16="http://schemas.microsoft.com/office/drawing/2014/main" id="{FF16E16F-3D8B-3A92-08E6-64EBD5AE7B6C}"/>
              </a:ext>
            </a:extLst>
          </p:cNvPr>
          <p:cNvSpPr>
            <a:spLocks noGrp="1"/>
          </p:cNvSpPr>
          <p:nvPr>
            <p:ph type="title"/>
          </p:nvPr>
        </p:nvSpPr>
        <p:spPr/>
        <p:txBody>
          <a:bodyPr/>
          <a:lstStyle/>
          <a:p>
            <a:r>
              <a:rPr lang="en-US" dirty="0"/>
              <a:t>Hateful </a:t>
            </a:r>
          </a:p>
        </p:txBody>
      </p:sp>
    </p:spTree>
    <p:extLst>
      <p:ext uri="{BB962C8B-B14F-4D97-AF65-F5344CB8AC3E}">
        <p14:creationId xmlns:p14="http://schemas.microsoft.com/office/powerpoint/2010/main" val="5229839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arey Brand Colors">
      <a:dk1>
        <a:srgbClr val="000000"/>
      </a:dk1>
      <a:lt1>
        <a:srgbClr val="FFFFFF"/>
      </a:lt1>
      <a:dk2>
        <a:srgbClr val="666666"/>
      </a:dk2>
      <a:lt2>
        <a:srgbClr val="E7E6E6"/>
      </a:lt2>
      <a:accent1>
        <a:srgbClr val="002C71"/>
      </a:accent1>
      <a:accent2>
        <a:srgbClr val="00AB8E"/>
      </a:accent2>
      <a:accent3>
        <a:srgbClr val="86C8BC"/>
      </a:accent3>
      <a:accent4>
        <a:srgbClr val="D2D755"/>
      </a:accent4>
      <a:accent5>
        <a:srgbClr val="00866F"/>
      </a:accent5>
      <a:accent6>
        <a:srgbClr val="FF9E1B"/>
      </a:accent6>
      <a:hlink>
        <a:srgbClr val="69A9E3"/>
      </a:hlink>
      <a:folHlink>
        <a:srgbClr val="A3599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785</TotalTime>
  <Words>136</Words>
  <Application>Microsoft Macintosh PowerPoint</Application>
  <PresentationFormat>Widescreen</PresentationFormat>
  <Paragraphs>33</Paragraphs>
  <Slides>1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alibri Light</vt:lpstr>
      <vt:lpstr>Courier New</vt:lpstr>
      <vt:lpstr>Wingdings</vt:lpstr>
      <vt:lpstr>Office Theme</vt:lpstr>
      <vt:lpstr>think-cell Slide</vt:lpstr>
      <vt:lpstr>Public Communication  Dr. Clara Ma  Have you ever listened to a presenter who sounded super smart – without having any ideas what she really said?   </vt:lpstr>
      <vt:lpstr>Your reader or audience always wonders…</vt:lpstr>
      <vt:lpstr>And don’t forget the all-important factor:  High  Skim Value</vt:lpstr>
      <vt:lpstr>What are we feeding us?</vt:lpstr>
      <vt:lpstr>PowerPoint Presentation</vt:lpstr>
      <vt:lpstr>PowerPoint Presentation</vt:lpstr>
      <vt:lpstr>PowerPoint Presentation</vt:lpstr>
      <vt:lpstr>PowerPoint Presentation</vt:lpstr>
      <vt:lpstr>Hateful </vt:lpstr>
      <vt:lpstr>PowerPoint Presentation</vt:lpstr>
      <vt:lpstr>Let’s do some search!</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Clara Ma</cp:lastModifiedBy>
  <cp:revision>651</cp:revision>
  <dcterms:created xsi:type="dcterms:W3CDTF">2023-09-04T18:25:54Z</dcterms:created>
  <dcterms:modified xsi:type="dcterms:W3CDTF">2024-09-18T04:29:49Z</dcterms:modified>
</cp:coreProperties>
</file>